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1"/>
    <p:sldMasterId id="2147483675" r:id="rId2"/>
    <p:sldMasterId id="2147484350" r:id="rId3"/>
    <p:sldMasterId id="2147484364" r:id="rId4"/>
    <p:sldMasterId id="2147484378" r:id="rId5"/>
  </p:sldMasterIdLst>
  <p:notesMasterIdLst>
    <p:notesMasterId r:id="rId7"/>
  </p:notesMasterIdLst>
  <p:handoutMasterIdLst>
    <p:handoutMasterId r:id="rId8"/>
  </p:handoutMasterIdLst>
  <p:sldIdLst>
    <p:sldId id="856" r:id="rId6"/>
  </p:sldIdLst>
  <p:sldSz cx="9144000" cy="5715000" type="screen16x1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1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5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7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5886" algn="l" defTabSz="914354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063" algn="l" defTabSz="914354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240" algn="l" defTabSz="914354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417" algn="l" defTabSz="914354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 userDrawn="1">
          <p15:clr>
            <a:srgbClr val="A4A3A4"/>
          </p15:clr>
        </p15:guide>
        <p15:guide id="2" orient="horz" pos="984" userDrawn="1">
          <p15:clr>
            <a:srgbClr val="A4A3A4"/>
          </p15:clr>
        </p15:guide>
        <p15:guide id="3" orient="horz" pos="529" userDrawn="1">
          <p15:clr>
            <a:srgbClr val="A4A3A4"/>
          </p15:clr>
        </p15:guide>
        <p15:guide id="4" orient="horz" pos="192" userDrawn="1">
          <p15:clr>
            <a:srgbClr val="A4A3A4"/>
          </p15:clr>
        </p15:guide>
        <p15:guide id="5" orient="horz" pos="3240" userDrawn="1">
          <p15:clr>
            <a:srgbClr val="A4A3A4"/>
          </p15:clr>
        </p15:guide>
        <p15:guide id="6" orient="horz" pos="3504" userDrawn="1">
          <p15:clr>
            <a:srgbClr val="A4A3A4"/>
          </p15:clr>
        </p15:guide>
        <p15:guide id="7" orient="horz" pos="2400" userDrawn="1">
          <p15:clr>
            <a:srgbClr val="A4A3A4"/>
          </p15:clr>
        </p15:guide>
        <p15:guide id="8" pos="1956" userDrawn="1">
          <p15:clr>
            <a:srgbClr val="A4A3A4"/>
          </p15:clr>
        </p15:guide>
        <p15:guide id="9" pos="230" userDrawn="1">
          <p15:clr>
            <a:srgbClr val="A4A3A4"/>
          </p15:clr>
        </p15:guide>
        <p15:guide id="10" pos="5587" userDrawn="1">
          <p15:clr>
            <a:srgbClr val="A4A3A4"/>
          </p15:clr>
        </p15:guide>
        <p15:guide id="11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7649F"/>
    <a:srgbClr val="3B71BF"/>
    <a:srgbClr val="C5F4FF"/>
    <a:srgbClr val="BDD3FF"/>
    <a:srgbClr val="B9B9B9"/>
    <a:srgbClr val="2C7D8B"/>
    <a:srgbClr val="00B0DA"/>
    <a:srgbClr val="666666"/>
    <a:srgbClr val="91B0DC"/>
    <a:srgbClr val="B4C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淡色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淡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淡色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淡色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 autoAdjust="0"/>
    <p:restoredTop sz="93923" autoAdjust="0"/>
  </p:normalViewPr>
  <p:slideViewPr>
    <p:cSldViewPr snapToGrid="0">
      <p:cViewPr>
        <p:scale>
          <a:sx n="148" d="100"/>
          <a:sy n="148" d="100"/>
        </p:scale>
        <p:origin x="1064" y="144"/>
      </p:cViewPr>
      <p:guideLst>
        <p:guide orient="horz" pos="1800"/>
        <p:guide orient="horz" pos="984"/>
        <p:guide orient="horz" pos="529"/>
        <p:guide orient="horz" pos="192"/>
        <p:guide orient="horz" pos="3240"/>
        <p:guide orient="horz" pos="3504"/>
        <p:guide orient="horz" pos="2400"/>
        <p:guide pos="1956"/>
        <p:guide pos="230"/>
        <p:guide pos="558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720" cy="4572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CD601-E423-AB4F-A244-B2DFB8F8F652}" type="datetimeFigureOut">
              <a:rPr kumimoji="1" lang="ja-JP" altLang="en-US" smtClean="0"/>
              <a:t>2016/6/17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2F9923-AEEE-1F4F-8793-94F76E5314F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2214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3ED82855-2EA6-4E64-86E8-DBA4C3544393}" type="datetimeFigureOut">
              <a:rPr lang="en-US"/>
              <a:pPr>
                <a:defRPr/>
              </a:pPr>
              <a:t>6/17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EF05B18-4DED-4981-9753-102D4B1BD8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5887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1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53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70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5886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05B18-4DED-4981-9753-102D4B1BD890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28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eg"/><Relationship Id="rId3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5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0.png"/><Relationship Id="rId3" Type="http://schemas.openxmlformats.org/officeDocument/2006/relationships/image" Target="../media/image19.jpe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3.emf"/><Relationship Id="rId3" Type="http://schemas.openxmlformats.org/officeDocument/2006/relationships/image" Target="../media/image24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2.png"/><Relationship Id="rId3" Type="http://schemas.openxmlformats.org/officeDocument/2006/relationships/image" Target="../media/image2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492" y="250716"/>
            <a:ext cx="8436385" cy="762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2 - Title slide image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hoto 4x10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304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163" y="5290296"/>
            <a:ext cx="469900" cy="21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2 - Title slide log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163" y="5290296"/>
            <a:ext cx="469900" cy="21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3" y="4305300"/>
            <a:ext cx="8413115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2 - Section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2 - last slide IBM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FFFFFF">
                    <a:alpha val="80000"/>
                  </a:srgbClr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L 1 - Title slide logo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3" y="4305300"/>
            <a:ext cx="8413115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teal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8"/>
            <a:ext cx="464058" cy="20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L 1 - Section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L1 - last slide IBM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FFFFFF">
                    <a:alpha val="80000"/>
                  </a:srgbClr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1 - Title slid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3" y="4305300"/>
            <a:ext cx="8413115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green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8"/>
            <a:ext cx="464058" cy="20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1 - Section p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1 - last slide IBM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FFFFFF">
                    <a:alpha val="80000"/>
                  </a:srgbClr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8646" y="1525953"/>
            <a:ext cx="8442931" cy="3630836"/>
          </a:xfrm>
        </p:spPr>
        <p:txBody>
          <a:bodyPr>
            <a:normAutofit/>
          </a:bodyPr>
          <a:lstStyle>
            <a:lvl1pPr marL="228589" marR="0" indent="-228589" algn="l" defTabSz="914354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600">
                <a:solidFill>
                  <a:schemeClr val="tx2"/>
                </a:solidFill>
              </a:defRPr>
            </a:lvl1pPr>
            <a:lvl2pPr marL="457177" indent="-228589">
              <a:spcBef>
                <a:spcPts val="0"/>
              </a:spcBef>
              <a:defRPr sz="1600">
                <a:solidFill>
                  <a:schemeClr val="tx2"/>
                </a:solidFill>
              </a:defRPr>
            </a:lvl2pPr>
            <a:lvl3pPr marL="685766" indent="-228589">
              <a:spcBef>
                <a:spcPts val="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10"/>
          <p:cNvSpPr>
            <a:spLocks noGrp="1"/>
          </p:cNvSpPr>
          <p:nvPr>
            <p:ph type="title"/>
          </p:nvPr>
        </p:nvSpPr>
        <p:spPr>
          <a:xfrm>
            <a:off x="342492" y="250716"/>
            <a:ext cx="8436385" cy="762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 3 - Title slid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3" y="4305300"/>
            <a:ext cx="8413115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yellow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6"/>
            <a:ext cx="464058" cy="211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YELLOW 3 -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3 - last slide IBM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©2015 IBM Corporation</a:t>
            </a:r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1 - Title slid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2" y="4305300"/>
            <a:ext cx="8404529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orang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8"/>
            <a:ext cx="464058" cy="20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1 - Section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1 - last slide IBM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F2F2F2"/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1 - Title pag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3" y="4305300"/>
            <a:ext cx="8413115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4" y="2479787"/>
            <a:ext cx="8466785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red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8"/>
            <a:ext cx="464058" cy="20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1 - Section p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1 - last slide IBM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FFFFFF">
                    <a:alpha val="80000"/>
                  </a:srgbClr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1 - Title pag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cover-wallpap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00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9144000" cy="30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5760" y="4305300"/>
            <a:ext cx="8410734" cy="30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5" descr="purpl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5290298"/>
            <a:ext cx="464058" cy="20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8342" y="1526305"/>
            <a:ext cx="4232700" cy="3628586"/>
          </a:xfrm>
        </p:spPr>
        <p:txBody>
          <a:bodyPr rIns="91435">
            <a:normAutofit/>
          </a:bodyPr>
          <a:lstStyle>
            <a:lvl1pPr marL="228589" indent="-228589">
              <a:spcBef>
                <a:spcPts val="9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 marL="457177" indent="-228589">
              <a:spcBef>
                <a:spcPts val="0"/>
              </a:spcBef>
              <a:defRPr sz="1600">
                <a:solidFill>
                  <a:schemeClr val="tx2"/>
                </a:solidFill>
              </a:defRPr>
            </a:lvl2pPr>
            <a:lvl3pPr marL="685766" indent="-228589">
              <a:spcBef>
                <a:spcPts val="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4687" y="1522675"/>
            <a:ext cx="4206875" cy="3629167"/>
          </a:xfrm>
        </p:spPr>
        <p:txBody>
          <a:bodyPr>
            <a:normAutofit/>
          </a:bodyPr>
          <a:lstStyle>
            <a:lvl1pPr marL="228589" indent="-228589">
              <a:spcBef>
                <a:spcPts val="9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 marL="457177" indent="-228589">
              <a:spcBef>
                <a:spcPts val="0"/>
              </a:spcBef>
              <a:defRPr sz="1600">
                <a:solidFill>
                  <a:schemeClr val="tx2"/>
                </a:solidFill>
              </a:defRPr>
            </a:lvl2pPr>
            <a:lvl3pPr marL="685766" indent="-228589">
              <a:spcBef>
                <a:spcPts val="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itle 10"/>
          <p:cNvSpPr>
            <a:spLocks noGrp="1"/>
          </p:cNvSpPr>
          <p:nvPr>
            <p:ph type="title"/>
          </p:nvPr>
        </p:nvSpPr>
        <p:spPr>
          <a:xfrm>
            <a:off x="342492" y="250716"/>
            <a:ext cx="8436385" cy="762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1 - Section p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6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8331" y="3052971"/>
            <a:ext cx="8440547" cy="281940"/>
          </a:xfrm>
        </p:spPr>
        <p:txBody>
          <a:bodyPr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bg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0040" y="2479787"/>
            <a:ext cx="8466786" cy="56425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1 - last slide IBM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5"/>
          <p:cNvSpPr txBox="1">
            <a:spLocks/>
          </p:cNvSpPr>
          <p:nvPr userDrawn="1"/>
        </p:nvSpPr>
        <p:spPr>
          <a:xfrm>
            <a:off x="365125" y="5480846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chemeClr val="bg1">
                    <a:alpha val="80000"/>
                  </a:schemeClr>
                </a:solidFill>
              </a:rPr>
              <a:t>©2015 IBM Corporation</a:t>
            </a:r>
          </a:p>
        </p:txBody>
      </p:sp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428" y="2451476"/>
            <a:ext cx="1547812" cy="639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568195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393804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8"/>
            <a:ext cx="7772400" cy="11350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3517594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163" y="179123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79123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442318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279261"/>
            <a:ext cx="4041775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631490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11562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3994835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27541"/>
            <a:ext cx="3008313" cy="9683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3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195918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423285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105150" y="1517906"/>
            <a:ext cx="5661454" cy="3619500"/>
          </a:xfrm>
        </p:spPr>
        <p:txBody>
          <a:bodyPr tIns="73149"/>
          <a:lstStyle>
            <a:lvl1pPr marL="0" indent="0">
              <a:lnSpc>
                <a:spcPct val="100000"/>
              </a:lnSpc>
              <a:spcBef>
                <a:spcPts val="90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47472" y="1524072"/>
            <a:ext cx="2743200" cy="36293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0"/>
          <p:cNvSpPr>
            <a:spLocks noGrp="1"/>
          </p:cNvSpPr>
          <p:nvPr>
            <p:ph type="title"/>
          </p:nvPr>
        </p:nvSpPr>
        <p:spPr>
          <a:xfrm>
            <a:off x="342492" y="250716"/>
            <a:ext cx="8436385" cy="762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651217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451317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8" y="228866"/>
            <a:ext cx="2068512" cy="533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1165" y="228866"/>
            <a:ext cx="6054725" cy="5334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244990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5402791"/>
            <a:ext cx="400050" cy="396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cs typeface="Helvetica Light"/>
              </a:defRPr>
            </a:lvl1pPr>
          </a:lstStyle>
          <a:p>
            <a:fld id="{37D03E04-5055-419C-80E0-02E157C7406C}" type="slidenum">
              <a:rPr lang="en-US" altLang="en-US">
                <a:solidFill>
                  <a:srgbClr val="000000"/>
                </a:solidFill>
                <a:ea typeface="+mn-ea"/>
              </a:rPr>
              <a:pPr/>
              <a:t>‹#›</a:t>
            </a:fld>
            <a:endParaRPr lang="en-US" altLang="en-US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9229588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071" y="3103008"/>
            <a:ext cx="8260205" cy="1855958"/>
          </a:xfrm>
          <a:prstGeom prst="rect">
            <a:avLst/>
          </a:prstGeom>
        </p:spPr>
      </p:pic>
      <p:sp>
        <p:nvSpPr>
          <p:cNvPr id="5" name="Line 90"/>
          <p:cNvSpPr>
            <a:spLocks noChangeShapeType="1"/>
          </p:cNvSpPr>
          <p:nvPr/>
        </p:nvSpPr>
        <p:spPr bwMode="auto">
          <a:xfrm flipV="1">
            <a:off x="274640" y="875771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ja-JP" altLang="en-US" sz="140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6" name="Group 112"/>
          <p:cNvGrpSpPr>
            <a:grpSpLocks/>
          </p:cNvGrpSpPr>
          <p:nvPr userDrawn="1"/>
        </p:nvGrpSpPr>
        <p:grpSpPr bwMode="auto">
          <a:xfrm>
            <a:off x="297522" y="793516"/>
            <a:ext cx="8569041" cy="1780917"/>
            <a:chOff x="160" y="2308"/>
            <a:chExt cx="5437" cy="1399"/>
          </a:xfrm>
        </p:grpSpPr>
        <p:sp>
          <p:nvSpPr>
            <p:cNvPr id="7" name="Rectangle 113"/>
            <p:cNvSpPr>
              <a:spLocks noChangeArrowheads="1"/>
            </p:cNvSpPr>
            <p:nvPr/>
          </p:nvSpPr>
          <p:spPr bwMode="auto">
            <a:xfrm>
              <a:off x="160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" name="Rectangle 114"/>
            <p:cNvSpPr>
              <a:spLocks noChangeArrowheads="1"/>
            </p:cNvSpPr>
            <p:nvPr/>
          </p:nvSpPr>
          <p:spPr bwMode="auto">
            <a:xfrm>
              <a:off x="160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9" name="Rectangle 115"/>
            <p:cNvSpPr>
              <a:spLocks noChangeArrowheads="1"/>
            </p:cNvSpPr>
            <p:nvPr/>
          </p:nvSpPr>
          <p:spPr bwMode="auto">
            <a:xfrm>
              <a:off x="160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0" name="Rectangle 116"/>
            <p:cNvSpPr>
              <a:spLocks noChangeArrowheads="1"/>
            </p:cNvSpPr>
            <p:nvPr/>
          </p:nvSpPr>
          <p:spPr bwMode="auto">
            <a:xfrm>
              <a:off x="4739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1" name="Rectangle 117"/>
            <p:cNvSpPr>
              <a:spLocks noChangeArrowheads="1"/>
            </p:cNvSpPr>
            <p:nvPr/>
          </p:nvSpPr>
          <p:spPr bwMode="auto">
            <a:xfrm>
              <a:off x="4739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2" name="Rectangle 118"/>
            <p:cNvSpPr>
              <a:spLocks noChangeArrowheads="1"/>
            </p:cNvSpPr>
            <p:nvPr/>
          </p:nvSpPr>
          <p:spPr bwMode="auto">
            <a:xfrm>
              <a:off x="5328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3" name="Freeform 119"/>
            <p:cNvSpPr>
              <a:spLocks/>
            </p:cNvSpPr>
            <p:nvPr/>
          </p:nvSpPr>
          <p:spPr bwMode="auto">
            <a:xfrm>
              <a:off x="1305" y="2308"/>
              <a:ext cx="2862" cy="288"/>
            </a:xfrm>
            <a:custGeom>
              <a:avLst/>
              <a:gdLst>
                <a:gd name="T0" fmla="*/ 0 w 2880"/>
                <a:gd name="T1" fmla="*/ 0 h 288"/>
                <a:gd name="T2" fmla="*/ 0 w 2880"/>
                <a:gd name="T3" fmla="*/ 288 h 288"/>
                <a:gd name="T4" fmla="*/ 2808 w 2880"/>
                <a:gd name="T5" fmla="*/ 288 h 288"/>
                <a:gd name="T6" fmla="*/ 2767 w 2880"/>
                <a:gd name="T7" fmla="*/ 256 h 288"/>
                <a:gd name="T8" fmla="*/ 2594 w 2880"/>
                <a:gd name="T9" fmla="*/ 134 h 288"/>
                <a:gd name="T10" fmla="*/ 2370 w 2880"/>
                <a:gd name="T11" fmla="*/ 46 h 288"/>
                <a:gd name="T12" fmla="*/ 2174 w 2880"/>
                <a:gd name="T13" fmla="*/ 10 h 288"/>
                <a:gd name="T14" fmla="*/ 2060 w 2880"/>
                <a:gd name="T15" fmla="*/ 0 h 288"/>
                <a:gd name="T16" fmla="*/ 0 w 2880"/>
                <a:gd name="T17" fmla="*/ 0 h 28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880" h="288">
                  <a:moveTo>
                    <a:pt x="0" y="0"/>
                  </a:moveTo>
                  <a:lnTo>
                    <a:pt x="0" y="288"/>
                  </a:lnTo>
                  <a:lnTo>
                    <a:pt x="2880" y="288"/>
                  </a:lnTo>
                  <a:lnTo>
                    <a:pt x="2838" y="256"/>
                  </a:lnTo>
                  <a:cubicBezTo>
                    <a:pt x="2838" y="256"/>
                    <a:pt x="2728" y="169"/>
                    <a:pt x="2660" y="134"/>
                  </a:cubicBezTo>
                  <a:cubicBezTo>
                    <a:pt x="2592" y="99"/>
                    <a:pt x="2502" y="67"/>
                    <a:pt x="2430" y="46"/>
                  </a:cubicBezTo>
                  <a:cubicBezTo>
                    <a:pt x="2358" y="25"/>
                    <a:pt x="2283" y="18"/>
                    <a:pt x="2230" y="10"/>
                  </a:cubicBezTo>
                  <a:lnTo>
                    <a:pt x="2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" name="Freeform 120"/>
            <p:cNvSpPr>
              <a:spLocks/>
            </p:cNvSpPr>
            <p:nvPr/>
          </p:nvSpPr>
          <p:spPr bwMode="auto">
            <a:xfrm>
              <a:off x="1305" y="2862"/>
              <a:ext cx="3174" cy="291"/>
            </a:xfrm>
            <a:custGeom>
              <a:avLst/>
              <a:gdLst>
                <a:gd name="T0" fmla="*/ 0 w 3194"/>
                <a:gd name="T1" fmla="*/ 0 h 290"/>
                <a:gd name="T2" fmla="*/ 0 w 3194"/>
                <a:gd name="T3" fmla="*/ 292 h 290"/>
                <a:gd name="T4" fmla="*/ 3114 w 3194"/>
                <a:gd name="T5" fmla="*/ 294 h 290"/>
                <a:gd name="T6" fmla="*/ 3108 w 3194"/>
                <a:gd name="T7" fmla="*/ 260 h 290"/>
                <a:gd name="T8" fmla="*/ 3081 w 3194"/>
                <a:gd name="T9" fmla="*/ 150 h 290"/>
                <a:gd name="T10" fmla="*/ 3041 w 3194"/>
                <a:gd name="T11" fmla="*/ 34 h 290"/>
                <a:gd name="T12" fmla="*/ 3026 w 3194"/>
                <a:gd name="T13" fmla="*/ 2 h 290"/>
                <a:gd name="T14" fmla="*/ 0 w 3194"/>
                <a:gd name="T15" fmla="*/ 0 h 2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94" h="290">
                  <a:moveTo>
                    <a:pt x="0" y="0"/>
                  </a:moveTo>
                  <a:lnTo>
                    <a:pt x="0" y="288"/>
                  </a:lnTo>
                  <a:lnTo>
                    <a:pt x="3194" y="290"/>
                  </a:lnTo>
                  <a:lnTo>
                    <a:pt x="3188" y="256"/>
                  </a:lnTo>
                  <a:cubicBezTo>
                    <a:pt x="3182" y="232"/>
                    <a:pt x="3172" y="183"/>
                    <a:pt x="3160" y="146"/>
                  </a:cubicBezTo>
                  <a:cubicBezTo>
                    <a:pt x="3146" y="103"/>
                    <a:pt x="3128" y="58"/>
                    <a:pt x="3118" y="34"/>
                  </a:cubicBezTo>
                  <a:lnTo>
                    <a:pt x="310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" name="Freeform 121"/>
            <p:cNvSpPr>
              <a:spLocks/>
            </p:cNvSpPr>
            <p:nvPr/>
          </p:nvSpPr>
          <p:spPr bwMode="auto">
            <a:xfrm>
              <a:off x="3595" y="3417"/>
              <a:ext cx="916" cy="290"/>
            </a:xfrm>
            <a:custGeom>
              <a:avLst/>
              <a:gdLst>
                <a:gd name="T0" fmla="*/ 0 w 3194"/>
                <a:gd name="T1" fmla="*/ 290 h 290"/>
                <a:gd name="T2" fmla="*/ 0 w 3194"/>
                <a:gd name="T3" fmla="*/ 2 h 290"/>
                <a:gd name="T4" fmla="*/ 22 w 3194"/>
                <a:gd name="T5" fmla="*/ 0 h 290"/>
                <a:gd name="T6" fmla="*/ 22 w 3194"/>
                <a:gd name="T7" fmla="*/ 156 h 290"/>
                <a:gd name="T8" fmla="*/ 21 w 3194"/>
                <a:gd name="T9" fmla="*/ 254 h 290"/>
                <a:gd name="T10" fmla="*/ 21 w 3194"/>
                <a:gd name="T11" fmla="*/ 290 h 290"/>
                <a:gd name="T12" fmla="*/ 0 w 3194"/>
                <a:gd name="T13" fmla="*/ 290 h 29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94" h="290">
                  <a:moveTo>
                    <a:pt x="0" y="290"/>
                  </a:moveTo>
                  <a:lnTo>
                    <a:pt x="0" y="2"/>
                  </a:lnTo>
                  <a:lnTo>
                    <a:pt x="3194" y="0"/>
                  </a:lnTo>
                  <a:lnTo>
                    <a:pt x="3176" y="156"/>
                  </a:lnTo>
                  <a:cubicBezTo>
                    <a:pt x="3169" y="198"/>
                    <a:pt x="3162" y="232"/>
                    <a:pt x="3150" y="254"/>
                  </a:cubicBezTo>
                  <a:lnTo>
                    <a:pt x="3140" y="290"/>
                  </a:lnTo>
                  <a:lnTo>
                    <a:pt x="0" y="29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6" name="Rectangle 122"/>
            <p:cNvSpPr>
              <a:spLocks noChangeArrowheads="1"/>
            </p:cNvSpPr>
            <p:nvPr/>
          </p:nvSpPr>
          <p:spPr bwMode="auto">
            <a:xfrm>
              <a:off x="1877" y="3419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ja-JP" altLang="en-US" sz="140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7" name="Rectangle 6"/>
          <p:cNvSpPr>
            <a:spLocks noChangeArrowheads="1"/>
          </p:cNvSpPr>
          <p:nvPr userDrawn="1"/>
        </p:nvSpPr>
        <p:spPr bwMode="black">
          <a:xfrm>
            <a:off x="7589838" y="5447772"/>
            <a:ext cx="1371600" cy="15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/>
          <a:p>
            <a:pPr algn="r"/>
            <a:r>
              <a:rPr lang="en-US" altLang="ja-JP" sz="80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© </a:t>
            </a:r>
            <a:r>
              <a:rPr lang="en-US" altLang="ja-JP" sz="8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2013 </a:t>
            </a:r>
            <a:r>
              <a:rPr lang="en-US" altLang="ja-JP" sz="80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IBM Corporation</a:t>
            </a:r>
            <a:endParaRPr lang="en-US" altLang="ja-JP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8" name="Picture 129" descr="5300_IBMpos_black_PPT_bkgd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0400" y="570178"/>
            <a:ext cx="585788" cy="195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49" name="Rectangle 77"/>
          <p:cNvSpPr>
            <a:spLocks noGrp="1" noChangeArrowheads="1"/>
          </p:cNvSpPr>
          <p:nvPr>
            <p:ph type="ctrTitle"/>
          </p:nvPr>
        </p:nvSpPr>
        <p:spPr>
          <a:xfrm>
            <a:off x="139702" y="1181364"/>
            <a:ext cx="8729663" cy="1676136"/>
          </a:xfrm>
        </p:spPr>
        <p:txBody>
          <a:bodyPr anchor="b"/>
          <a:lstStyle>
            <a:lvl1pPr>
              <a:defRPr sz="35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</a:p>
        </p:txBody>
      </p:sp>
      <p:sp>
        <p:nvSpPr>
          <p:cNvPr id="3150" name="Rectangle 78"/>
          <p:cNvSpPr>
            <a:spLocks noGrp="1" noChangeArrowheads="1"/>
          </p:cNvSpPr>
          <p:nvPr>
            <p:ph type="subTitle" idx="1"/>
          </p:nvPr>
        </p:nvSpPr>
        <p:spPr>
          <a:xfrm>
            <a:off x="182565" y="190500"/>
            <a:ext cx="4389437" cy="685271"/>
          </a:xfrm>
        </p:spPr>
        <p:txBody>
          <a:bodyPr anchor="b"/>
          <a:lstStyle>
            <a:lvl1pPr marL="0" indent="0">
              <a:buFont typeface="Wingdings" charset="0"/>
              <a:buNone/>
              <a:defRPr sz="1300"/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235578" y="4444081"/>
            <a:ext cx="66927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400" b="1" dirty="0" smtClean="0">
                <a:solidFill>
                  <a:srgbClr val="004080"/>
                </a:solidFill>
                <a:effectLst>
                  <a:reflection stA="50000" endPos="75000" dist="12700" dir="5400000" sy="-100000" algn="bl" rotWithShape="0"/>
                </a:effectLst>
                <a:latin typeface="Constantia"/>
                <a:ea typeface="ＭＳ Ｐゴシック" charset="0"/>
                <a:cs typeface="Lucida Grande"/>
              </a:rPr>
              <a:t>IBM Smarter Mobility  -  Beyond Smartphone</a:t>
            </a:r>
            <a:endParaRPr kumimoji="1" lang="ja-JP" altLang="en-US" sz="2400" b="1" dirty="0">
              <a:solidFill>
                <a:srgbClr val="004080"/>
              </a:solidFill>
              <a:effectLst>
                <a:reflection stA="50000" endPos="75000" dist="12700" dir="5400000" sy="-100000" algn="bl" rotWithShape="0"/>
              </a:effectLst>
              <a:latin typeface="Constantia"/>
              <a:ea typeface="ＭＳ Ｐゴシック" charset="0"/>
              <a:cs typeface="Lucida Grande"/>
            </a:endParaRPr>
          </a:p>
        </p:txBody>
      </p:sp>
    </p:spTree>
    <p:extLst>
      <p:ext uri="{BB962C8B-B14F-4D97-AF65-F5344CB8AC3E}">
        <p14:creationId xmlns:p14="http://schemas.microsoft.com/office/powerpoint/2010/main" val="34731650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C822F1-05A5-1847-85CA-F813A8FABA21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3695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3672418"/>
            <a:ext cx="7772400" cy="113506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2FF109-35E8-C14F-8B3A-2E6BA93631CC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7304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182563" y="1562366"/>
            <a:ext cx="4267200" cy="373327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02163" y="1562366"/>
            <a:ext cx="4267200" cy="373327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929F1E-146D-2C40-BCA9-623476AB6D23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1977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7" y="1279261"/>
            <a:ext cx="4041775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7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1582EC-F103-6D4A-953C-863460B06B0B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8421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073535-F5EB-CC4A-9CA7-E0D92B7703B1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533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TYLE - white IBV l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2"/>
          <p:cNvPicPr>
            <a:picLocks noChangeAspect="1"/>
          </p:cNvPicPr>
          <p:nvPr userDrawn="1"/>
        </p:nvPicPr>
        <p:blipFill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358778" y="5445903"/>
            <a:ext cx="333375" cy="137583"/>
          </a:xfrm>
          <a:prstGeom prst="rect">
            <a:avLst/>
          </a:prstGeom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75530A4C-99A5-4626-AE7F-7D752AE89BB3}" type="slidenum">
              <a:rPr lang="en-US" sz="800" smtClean="0">
                <a:solidFill>
                  <a:srgbClr val="F2F2F2"/>
                </a:solidFill>
              </a:rPr>
              <a:pPr eaLnBrk="1" hangingPunct="1">
                <a:defRPr/>
              </a:pPr>
              <a:t>‹#›</a:t>
            </a:fld>
            <a:endParaRPr lang="en-US" sz="800" dirty="0" smtClean="0">
              <a:solidFill>
                <a:srgbClr val="F2F2F2"/>
              </a:solidFill>
            </a:endParaRPr>
          </a:p>
        </p:txBody>
      </p:sp>
      <p:sp>
        <p:nvSpPr>
          <p:cNvPr id="7" name="Date Placeholder 5"/>
          <p:cNvSpPr txBox="1">
            <a:spLocks/>
          </p:cNvSpPr>
          <p:nvPr userDrawn="1"/>
        </p:nvSpPr>
        <p:spPr>
          <a:xfrm>
            <a:off x="744538" y="5445905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©2015 IBM Corporation</a:t>
            </a:r>
          </a:p>
        </p:txBody>
      </p:sp>
      <p:sp>
        <p:nvSpPr>
          <p:cNvPr id="9" name="Date Placeholder 2"/>
          <p:cNvSpPr txBox="1">
            <a:spLocks/>
          </p:cNvSpPr>
          <p:nvPr userDrawn="1"/>
        </p:nvSpPr>
        <p:spPr>
          <a:xfrm>
            <a:off x="2090740" y="5445904"/>
            <a:ext cx="1004887" cy="1150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9CC3CF4-A92B-4148-9785-EB4D496C09A1}" type="datetime3">
              <a:rPr lang="en-US" sz="800" smtClean="0">
                <a:solidFill>
                  <a:schemeClr val="bg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7 June 2016</a:t>
            </a:fld>
            <a:endParaRPr lang="en-US" sz="800" dirty="0" smtClean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104314"/>
            <a:ext cx="6400800" cy="1460500"/>
          </a:xfrm>
        </p:spPr>
        <p:txBody>
          <a:bodyPr>
            <a:normAutofit/>
          </a:bodyPr>
          <a:lstStyle>
            <a:lvl1pPr marL="137153" indent="-137153" algn="l">
              <a:lnSpc>
                <a:spcPts val="3600"/>
              </a:lnSpc>
              <a:spcBef>
                <a:spcPts val="1800"/>
              </a:spcBef>
              <a:buNone/>
              <a:defRPr sz="3200">
                <a:solidFill>
                  <a:schemeClr val="accent3"/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28639" y="5095919"/>
            <a:ext cx="160159" cy="438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DF46D3-BF14-0C45-B3E1-E1DBB2AECA52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460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2" y="227541"/>
            <a:ext cx="3008313" cy="9683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27543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2" y="1195918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ECE421-41B3-474A-949B-7ADF98C073B4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739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630BB-855B-A349-9A19-00571B306ACB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8513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C23A9-329F-AE4B-BFF0-222EFD6FAD38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4988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97663" y="494771"/>
            <a:ext cx="2171700" cy="4800866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182563" y="494771"/>
            <a:ext cx="6362700" cy="4800866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0D9B96-302D-A14F-9D93-2146CC0C5B12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8633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53988" y="128323"/>
            <a:ext cx="7112000" cy="418042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684213" y="951178"/>
            <a:ext cx="4037012" cy="3768989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873627" y="951178"/>
            <a:ext cx="4037013" cy="3768989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68D1F-1D3D-A046-9388-0D208754FC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IBM Confidential</a:t>
            </a: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4048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oT_Graphic_Crops_Final_043015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32" t="16248" r="41278" b="50691"/>
          <a:stretch>
            <a:fillRect/>
          </a:stretch>
        </p:blipFill>
        <p:spPr bwMode="auto">
          <a:xfrm>
            <a:off x="5992814" y="1"/>
            <a:ext cx="3151187" cy="3010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575" y="1522237"/>
            <a:ext cx="1189038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905" y="3919445"/>
            <a:ext cx="5943600" cy="373822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2300" b="1" i="0" dirty="0">
                <a:solidFill>
                  <a:srgbClr val="6D6F71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5" y="2186055"/>
            <a:ext cx="5943600" cy="1603795"/>
          </a:xfrm>
        </p:spPr>
        <p:txBody>
          <a:bodyPr/>
          <a:lstStyle>
            <a:lvl1pPr>
              <a:lnSpc>
                <a:spcPct val="100000"/>
              </a:lnSpc>
              <a:defRPr sz="5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7225-626D-3246-B9D7-399C1E7267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829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2000" y="1128289"/>
            <a:ext cx="6172200" cy="11729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2000" y="2518833"/>
            <a:ext cx="7461504" cy="2620882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740834"/>
            <a:ext cx="4645816" cy="388077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4D3DD-D412-344B-B46D-00D31C9786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2828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1999" y="1128289"/>
            <a:ext cx="4434840" cy="11729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1999" y="2518833"/>
            <a:ext cx="4434840" cy="262088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/>
            </a:lvl1pPr>
            <a:lvl2pPr>
              <a:lnSpc>
                <a:spcPct val="140000"/>
              </a:lnSpc>
              <a:spcBef>
                <a:spcPts val="0"/>
              </a:spcBef>
              <a:defRPr/>
            </a:lvl2pPr>
            <a:lvl3pPr>
              <a:lnSpc>
                <a:spcPct val="140000"/>
              </a:lnSpc>
              <a:spcBef>
                <a:spcPts val="0"/>
              </a:spcBef>
              <a:defRPr/>
            </a:lvl3pPr>
            <a:lvl4pPr>
              <a:lnSpc>
                <a:spcPct val="140000"/>
              </a:lnSpc>
              <a:spcBef>
                <a:spcPts val="0"/>
              </a:spcBef>
              <a:defRPr/>
            </a:lvl4pPr>
            <a:lvl5pPr>
              <a:lnSpc>
                <a:spcPct val="14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740834"/>
            <a:ext cx="4434840" cy="388077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E9C638-18DB-FB45-9DAF-D4A795319B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4546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2000" y="1128289"/>
            <a:ext cx="6172200" cy="117290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2000" y="4870050"/>
            <a:ext cx="7461504" cy="26966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700" b="1" i="1">
                <a:latin typeface="HelvNeue for IBM"/>
                <a:cs typeface="HelvNeue for IBM"/>
              </a:defRPr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740834"/>
            <a:ext cx="4434840" cy="388077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762000" y="2518833"/>
            <a:ext cx="7461504" cy="2286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FCA38-FD49-4145-ADBB-7D317E6F89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053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104314"/>
            <a:ext cx="6400800" cy="1460500"/>
          </a:xfrm>
        </p:spPr>
        <p:txBody>
          <a:bodyPr>
            <a:normAutofit/>
          </a:bodyPr>
          <a:lstStyle>
            <a:lvl1pPr marL="137153" indent="-137153" algn="l">
              <a:lnSpc>
                <a:spcPts val="3600"/>
              </a:lnSpc>
              <a:spcBef>
                <a:spcPts val="1800"/>
              </a:spcBef>
              <a:buNone/>
              <a:defRPr sz="3200">
                <a:solidFill>
                  <a:schemeClr val="accent3"/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740834"/>
            <a:ext cx="4434840" cy="388077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29613" y="5134681"/>
            <a:ext cx="455612" cy="30162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F8616F-2E29-AD4A-BF25-4B86E9AC27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717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1" y="5131154"/>
            <a:ext cx="7967663" cy="31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81000"/>
            <a:ext cx="8229600" cy="464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457200" y="5296960"/>
            <a:ext cx="2133600" cy="305152"/>
          </a:xfrm>
          <a:prstGeom prst="rect">
            <a:avLst/>
          </a:prstGeom>
          <a:noFill/>
          <a:ln>
            <a:noFill/>
          </a:ln>
          <a:extLst/>
        </p:spPr>
        <p:txBody>
          <a:bodyPr lIns="64283" tIns="32142" rIns="64283" bIns="32142" anchor="ctr"/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defRPr/>
            </a:pPr>
            <a:fld id="{812EFA2E-792E-5048-A514-24A4C3E5122D}" type="datetime1">
              <a:rPr lang="en-US" sz="800" smtClean="0">
                <a:solidFill>
                  <a:srgbClr val="898989"/>
                </a:solidFill>
              </a:rPr>
              <a:pPr>
                <a:defRPr/>
              </a:pPr>
              <a:t>6/17/16</a:t>
            </a:fld>
            <a:endParaRPr lang="en-US" sz="800" smtClean="0">
              <a:solidFill>
                <a:srgbClr val="898989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6366" y="1821773"/>
            <a:ext cx="5943600" cy="373822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2300" b="1" i="0" dirty="0">
                <a:solidFill>
                  <a:srgbClr val="FFD91B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5" y="2281665"/>
            <a:ext cx="5943600" cy="1603795"/>
          </a:xfrm>
        </p:spPr>
        <p:txBody>
          <a:bodyPr/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08963" y="5139972"/>
            <a:ext cx="455612" cy="30338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063D5-5FC1-F446-A580-48F97B4EAB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555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ded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9144000" cy="3618794"/>
          </a:xfrm>
        </p:spPr>
        <p:txBody>
          <a:bodyPr tIns="914354" rtlCol="0" anchor="ctr">
            <a:normAutofit/>
          </a:bodyPr>
          <a:lstStyle>
            <a:lvl1pPr algn="ctr">
              <a:buNone/>
              <a:defRPr/>
            </a:lvl1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549" y="3821807"/>
            <a:ext cx="8438993" cy="457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>
                <a:solidFill>
                  <a:srgbClr val="00B0D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8444" y="4417399"/>
            <a:ext cx="8217524" cy="762000"/>
          </a:xfrm>
        </p:spPr>
        <p:txBody>
          <a:bodyPr anchor="b"/>
          <a:lstStyle>
            <a:lvl1pPr marL="0" indent="0">
              <a:spcBef>
                <a:spcPts val="900"/>
              </a:spcBef>
              <a:buNone/>
              <a:defRPr sz="1600" kern="1200">
                <a:solidFill>
                  <a:srgbClr val="6D6E7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82563" y="494771"/>
            <a:ext cx="8686800" cy="990866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82563" y="5447772"/>
            <a:ext cx="366712" cy="15345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073535-F5EB-CC4A-9CA7-E0D92B7703B1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xfrm>
            <a:off x="1554163" y="5447772"/>
            <a:ext cx="5943600" cy="15345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 dirty="0"/>
              <a:t>IBM Confidential</a:t>
            </a:r>
            <a:endParaRPr lang="en-US" altLang="ja-JP" dirty="0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xfrm>
            <a:off x="549275" y="5447772"/>
            <a:ext cx="1004888" cy="15345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テキスト ボックス 5"/>
          <p:cNvSpPr txBox="1"/>
          <p:nvPr userDrawn="1"/>
        </p:nvSpPr>
        <p:spPr>
          <a:xfrm>
            <a:off x="7991856" y="5527040"/>
            <a:ext cx="914400" cy="101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endParaRPr kumimoji="1" lang="ja-JP" altLang="en-US" sz="105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13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 descr="IBM-White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6240" y="38100"/>
            <a:ext cx="1044575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4"/>
          <p:cNvSpPr>
            <a:spLocks noChangeShapeType="1"/>
          </p:cNvSpPr>
          <p:nvPr/>
        </p:nvSpPr>
        <p:spPr bwMode="auto">
          <a:xfrm flipV="1">
            <a:off x="274640" y="422276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US" sz="1650">
              <a:ea typeface="MS PGothic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 flipV="1">
            <a:off x="274640" y="460376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US" sz="1650">
              <a:ea typeface="MS PGothic" pitchFamily="34" charset="-128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black">
          <a:xfrm>
            <a:off x="7602538" y="5400676"/>
            <a:ext cx="13716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69056" tIns="34529" rIns="69056" bIns="34529"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600" smtClean="0">
                <a:solidFill>
                  <a:srgbClr val="000000"/>
                </a:solidFill>
                <a:cs typeface="Arial" panose="020B0604020202020204" pitchFamily="34" charset="0"/>
              </a:rPr>
              <a:t>© 2015 IBM Corporation</a:t>
            </a:r>
            <a:endParaRPr lang="en-US" altLang="en-US" sz="13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" name="Object 8" hidden="1"/>
          <p:cNvGraphicFramePr>
            <a:graphicFrameLocks noChangeAspect="1"/>
          </p:cNvGraphicFramePr>
          <p:nvPr userDrawn="1"/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93663" y="5438775"/>
            <a:ext cx="271462" cy="198438"/>
          </a:xfrm>
          <a:prstGeom prst="rect">
            <a:avLst/>
          </a:prstGeom>
          <a:noFill/>
          <a:ln>
            <a:noFill/>
          </a:ln>
          <a:extLst/>
        </p:spPr>
        <p:txBody>
          <a:bodyPr lIns="69056" tIns="34529" rIns="69056" bIns="34529"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2B689E91-DCA1-4237-8330-E3A336B11414}" type="slidenum">
              <a:rPr lang="en-US" altLang="en-US" sz="800" smtClean="0">
                <a:solidFill>
                  <a:srgbClr val="0D0D0D"/>
                </a:solidFill>
              </a:rPr>
              <a:pPr eaLnBrk="1" hangingPunct="1">
                <a:defRPr/>
              </a:pPr>
              <a:t>‹#›</a:t>
            </a:fld>
            <a:endParaRPr lang="en-US" altLang="en-US" sz="1600" smtClean="0">
              <a:solidFill>
                <a:srgbClr val="0D0D0D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black">
          <a:xfrm>
            <a:off x="7602538" y="5400676"/>
            <a:ext cx="13716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69056" tIns="34529" rIns="69056" bIns="34529"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© 2015 IBM Corporation</a:t>
            </a:r>
            <a:endParaRPr lang="en-US" altLang="en-US" sz="1300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Content Placeholder 3"/>
          <p:cNvSpPr txBox="1">
            <a:spLocks/>
          </p:cNvSpPr>
          <p:nvPr userDrawn="1"/>
        </p:nvSpPr>
        <p:spPr bwMode="auto">
          <a:xfrm>
            <a:off x="182565" y="190500"/>
            <a:ext cx="3881437" cy="231776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258763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4135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90170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154113" indent="-12223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6113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0685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5257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9829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buClr>
                <a:srgbClr val="0A5095"/>
              </a:buClr>
              <a:buFont typeface="Wingdings" panose="05000000000000000000" pitchFamily="2" charset="2"/>
              <a:buNone/>
              <a:defRPr/>
            </a:pPr>
            <a:endParaRPr lang="en-US" altLang="en-US" sz="1200" b="1" smtClean="0">
              <a:solidFill>
                <a:srgbClr val="7F7F7F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82563" y="493201"/>
            <a:ext cx="8686800" cy="639763"/>
          </a:xfrm>
          <a:prstGeom prst="rect">
            <a:avLst/>
          </a:prstGeom>
        </p:spPr>
        <p:txBody>
          <a:bodyPr/>
          <a:lstStyle>
            <a:lvl1pPr algn="l">
              <a:defRPr sz="2200">
                <a:solidFill>
                  <a:srgbClr val="003F69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182563" y="1473201"/>
            <a:ext cx="8686800" cy="3606800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 sz="1050">
                <a:solidFill>
                  <a:schemeClr val="bg1"/>
                </a:solidFill>
                <a:latin typeface="Arial"/>
                <a:cs typeface="Arial"/>
              </a:defRPr>
            </a:lvl2pPr>
            <a:lvl3pPr>
              <a:defRPr sz="1050">
                <a:solidFill>
                  <a:schemeClr val="bg1"/>
                </a:solidFill>
                <a:latin typeface="Arial"/>
                <a:cs typeface="Arial"/>
              </a:defRPr>
            </a:lvl3pPr>
            <a:lvl4pPr>
              <a:defRPr sz="1050">
                <a:solidFill>
                  <a:schemeClr val="bg1"/>
                </a:solidFill>
                <a:latin typeface="Arial"/>
                <a:cs typeface="Arial"/>
              </a:defRPr>
            </a:lvl4pPr>
            <a:lvl5pPr>
              <a:defRPr sz="105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681163" y="5405438"/>
            <a:ext cx="5943600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IBM Confidential</a:t>
            </a:r>
            <a:endParaRPr lang="en-US"/>
          </a:p>
        </p:txBody>
      </p:sp>
      <p:sp>
        <p:nvSpPr>
          <p:cNvPr id="17" name="Rectangle 9"/>
          <p:cNvSpPr>
            <a:spLocks noGrp="1" noChangeArrowheads="1"/>
          </p:cNvSpPr>
          <p:nvPr>
            <p:ph type="dt" sz="half" idx="11"/>
          </p:nvPr>
        </p:nvSpPr>
        <p:spPr>
          <a:xfrm>
            <a:off x="676275" y="5400676"/>
            <a:ext cx="1004888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178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1.xml"/><Relationship Id="rId23" Type="http://schemas.openxmlformats.org/officeDocument/2006/relationships/theme" Target="../theme/theme2.xml"/><Relationship Id="rId24" Type="http://schemas.openxmlformats.org/officeDocument/2006/relationships/image" Target="../media/image5.jpeg"/><Relationship Id="rId10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6.xml"/><Relationship Id="rId8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theme" Target="../theme/theme3.xml"/><Relationship Id="rId14" Type="http://schemas.openxmlformats.org/officeDocument/2006/relationships/image" Target="../media/image17.png"/><Relationship Id="rId15" Type="http://schemas.openxmlformats.org/officeDocument/2006/relationships/image" Target="../media/image18.png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5.xml"/><Relationship Id="rId13" Type="http://schemas.openxmlformats.org/officeDocument/2006/relationships/theme" Target="../theme/theme4.xml"/><Relationship Id="rId14" Type="http://schemas.openxmlformats.org/officeDocument/2006/relationships/image" Target="../media/image19.jpeg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theme" Target="../theme/theme5.xml"/><Relationship Id="rId8" Type="http://schemas.openxmlformats.org/officeDocument/2006/relationships/image" Target="../media/image21.jpeg"/><Relationship Id="rId9" Type="http://schemas.openxmlformats.org/officeDocument/2006/relationships/image" Target="../media/image22.png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524000"/>
            <a:ext cx="8420100" cy="356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4" r:id="rId1"/>
    <p:sldLayoutId id="2147484305" r:id="rId2"/>
    <p:sldLayoutId id="2147484306" r:id="rId3"/>
    <p:sldLayoutId id="2147484307" r:id="rId4"/>
    <p:sldLayoutId id="2147484310" r:id="rId5"/>
    <p:sldLayoutId id="2147484308" r:id="rId6"/>
    <p:sldLayoutId id="2147484309" r:id="rId7"/>
    <p:sldLayoutId id="2147484333" r:id="rId8"/>
    <p:sldLayoutId id="214748437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5pPr>
      <a:lvl6pPr marL="457177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354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532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709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28589" indent="-228589" algn="l" rtl="0" eaLnBrk="0" fontAlgn="base" hangingPunct="0">
        <a:spcBef>
          <a:spcPts val="9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1pPr>
      <a:lvl2pPr marL="457177" indent="-22858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2pPr>
      <a:lvl3pPr marL="685766" indent="-228589"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3pPr>
      <a:lvl4pPr marL="1600120" indent="-2285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4pPr>
      <a:lvl5pPr marL="2057297" indent="-2285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1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7472" y="1524002"/>
            <a:ext cx="8420100" cy="3562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8" name="Date Placeholder 5"/>
          <p:cNvSpPr txBox="1">
            <a:spLocks/>
          </p:cNvSpPr>
          <p:nvPr userDrawn="1"/>
        </p:nvSpPr>
        <p:spPr>
          <a:xfrm>
            <a:off x="744538" y="5445905"/>
            <a:ext cx="1130300" cy="91281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2015 IBM Corporation</a:t>
            </a:r>
          </a:p>
        </p:txBody>
      </p:sp>
      <p:sp>
        <p:nvSpPr>
          <p:cNvPr id="48" name="Slide Number Placeholder 4"/>
          <p:cNvSpPr txBox="1">
            <a:spLocks/>
          </p:cNvSpPr>
          <p:nvPr userDrawn="1"/>
        </p:nvSpPr>
        <p:spPr>
          <a:xfrm>
            <a:off x="358778" y="5445903"/>
            <a:ext cx="333375" cy="137583"/>
          </a:xfrm>
          <a:prstGeom prst="rect">
            <a:avLst/>
          </a:prstGeom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0E98AB2E-B6D1-4FB4-A73B-507375FCACCD}" type="slidenum">
              <a:rPr lang="en-US" sz="800" smtClean="0">
                <a:solidFill>
                  <a:schemeClr val="tx2"/>
                </a:solidFill>
              </a:rPr>
              <a:pPr eaLnBrk="1" hangingPunct="1">
                <a:defRPr/>
              </a:pPr>
              <a:t>‹#›</a:t>
            </a:fld>
            <a:endParaRPr lang="en-US" sz="800" dirty="0" smtClean="0">
              <a:solidFill>
                <a:schemeClr val="tx2"/>
              </a:solidFill>
            </a:endParaRPr>
          </a:p>
        </p:txBody>
      </p:sp>
      <p:sp>
        <p:nvSpPr>
          <p:cNvPr id="8" name="Date Placeholder 2"/>
          <p:cNvSpPr txBox="1">
            <a:spLocks/>
          </p:cNvSpPr>
          <p:nvPr userDrawn="1"/>
        </p:nvSpPr>
        <p:spPr>
          <a:xfrm>
            <a:off x="2090740" y="5445904"/>
            <a:ext cx="1004887" cy="1150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C9968D1-C8E5-4FE3-AED4-7D4518C301B3}" type="datetime3">
              <a:rPr lang="en-US" sz="800" smtClean="0">
                <a:solidFill>
                  <a:schemeClr val="tx2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7 June 2016</a:t>
            </a:fld>
            <a:endParaRPr lang="en-US" sz="800" dirty="0" smtClean="0">
              <a:solidFill>
                <a:schemeClr val="tx2"/>
              </a:solidFill>
            </a:endParaRPr>
          </a:p>
        </p:txBody>
      </p:sp>
      <p:pic>
        <p:nvPicPr>
          <p:cNvPr id="7" name="Picture 53" descr="IBM-logo-50-black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31265" y="5054154"/>
            <a:ext cx="160337" cy="4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32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  <p:sldLayoutId id="2147484324" r:id="rId15"/>
    <p:sldLayoutId id="2147484325" r:id="rId16"/>
    <p:sldLayoutId id="2147484326" r:id="rId17"/>
    <p:sldLayoutId id="2147484327" r:id="rId18"/>
    <p:sldLayoutId id="2147484328" r:id="rId19"/>
    <p:sldLayoutId id="2147484329" r:id="rId20"/>
    <p:sldLayoutId id="2147484330" r:id="rId21"/>
    <p:sldLayoutId id="2147484331" r:id="rId22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MS PGothic" pitchFamily="34" charset="-128"/>
        </a:defRPr>
      </a:lvl5pPr>
      <a:lvl6pPr marL="457177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6pPr>
      <a:lvl7pPr marL="914354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7pPr>
      <a:lvl8pPr marL="1371532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8pPr>
      <a:lvl9pPr marL="1828709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</a:defRPr>
      </a:lvl9pPr>
    </p:titleStyle>
    <p:bodyStyle>
      <a:lvl1pPr marL="228589" indent="-228589" algn="l" rtl="0" eaLnBrk="0" fontAlgn="base" hangingPunct="0">
        <a:spcBef>
          <a:spcPts val="9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1pPr>
      <a:lvl2pPr marL="457177" indent="-22858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2pPr>
      <a:lvl3pPr marL="685766" indent="-228589"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3pPr>
      <a:lvl4pPr marL="1600120" indent="-2285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4pPr>
      <a:lvl5pPr marL="2057297" indent="-2285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2"/>
          </a:solidFill>
          <a:latin typeface="+mn-lt"/>
          <a:ea typeface="MS PGothic" pitchFamily="34" charset="-128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1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/>
          <p:nvPr userDrawn="1"/>
        </p:nvSpPr>
        <p:spPr>
          <a:xfrm>
            <a:off x="0" y="1"/>
            <a:ext cx="9144000" cy="53313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7" name="Group 2"/>
          <p:cNvGrpSpPr/>
          <p:nvPr userDrawn="1"/>
        </p:nvGrpSpPr>
        <p:grpSpPr>
          <a:xfrm>
            <a:off x="360701" y="224015"/>
            <a:ext cx="506711" cy="143757"/>
            <a:chOff x="360699" y="268817"/>
            <a:chExt cx="506711" cy="172508"/>
          </a:xfrm>
          <a:solidFill>
            <a:schemeClr val="bg1"/>
          </a:solidFill>
        </p:grpSpPr>
        <p:sp>
          <p:nvSpPr>
            <p:cNvPr id="8" name="Rectangle 5"/>
            <p:cNvSpPr/>
            <p:nvPr/>
          </p:nvSpPr>
          <p:spPr>
            <a:xfrm>
              <a:off x="501650" y="268817"/>
              <a:ext cx="365760" cy="5926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  <p:sp>
          <p:nvSpPr>
            <p:cNvPr id="9" name="Rectangle 6"/>
            <p:cNvSpPr/>
            <p:nvPr/>
          </p:nvSpPr>
          <p:spPr>
            <a:xfrm>
              <a:off x="360699" y="382059"/>
              <a:ext cx="365760" cy="5926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</p:grpSp>
      <p:sp>
        <p:nvSpPr>
          <p:cNvPr id="4711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28866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711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3" y="1791230"/>
            <a:ext cx="8229600" cy="377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3" name="Picture 12" descr="cloud_only copy.png"/>
          <p:cNvPicPr>
            <a:picLocks noChangeAspect="1"/>
          </p:cNvPicPr>
          <p:nvPr userDrawn="1"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r="-749"/>
          <a:stretch/>
        </p:blipFill>
        <p:spPr>
          <a:xfrm>
            <a:off x="236896" y="5171311"/>
            <a:ext cx="597936" cy="373536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894617" y="5511711"/>
            <a:ext cx="822960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spc="-30" dirty="0">
                <a:solidFill>
                  <a:prstClr val="black"/>
                </a:solidFill>
                <a:latin typeface="Arial"/>
                <a:ea typeface="+mn-ea"/>
                <a:cs typeface="Arial"/>
              </a:rPr>
              <a:t>© IBM Corporation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26442" y="5511711"/>
            <a:ext cx="331908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9B56CEAA-430B-E444-BEC6-7F9CF6806FD6}" type="slidenum">
              <a:rPr lang="en-US" sz="800" kern="0" spc="-30">
                <a:solidFill>
                  <a:prstClr val="black"/>
                </a:solidFill>
                <a:latin typeface="Arial"/>
                <a:ea typeface="+mn-ea"/>
                <a:cs typeface="Arial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kern="0" spc="-30" dirty="0">
              <a:solidFill>
                <a:prstClr val="black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" y="5028217"/>
            <a:ext cx="871804" cy="69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27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1" r:id="rId1"/>
    <p:sldLayoutId id="2147484352" r:id="rId2"/>
    <p:sldLayoutId id="2147484353" r:id="rId3"/>
    <p:sldLayoutId id="2147484354" r:id="rId4"/>
    <p:sldLayoutId id="2147484355" r:id="rId5"/>
    <p:sldLayoutId id="2147484356" r:id="rId6"/>
    <p:sldLayoutId id="2147484357" r:id="rId7"/>
    <p:sldLayoutId id="2147484358" r:id="rId8"/>
    <p:sldLayoutId id="2147484359" r:id="rId9"/>
    <p:sldLayoutId id="2147484360" r:id="rId10"/>
    <p:sldLayoutId id="2147484361" r:id="rId11"/>
    <p:sldLayoutId id="2147484362" r:id="rId12"/>
  </p:sldLayoutIdLst>
  <p:transition spd="med">
    <p:fade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100">
          <a:solidFill>
            <a:schemeClr val="tx1"/>
          </a:solidFill>
          <a:latin typeface="+mn-lt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100">
          <a:solidFill>
            <a:schemeClr val="tx1"/>
          </a:solidFill>
          <a:latin typeface="+mn-lt"/>
          <a:cs typeface="+mn-cs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100">
          <a:solidFill>
            <a:schemeClr val="tx1"/>
          </a:solidFill>
          <a:latin typeface="+mn-lt"/>
          <a:cs typeface="+mn-cs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100">
          <a:solidFill>
            <a:schemeClr val="tx1"/>
          </a:solidFill>
          <a:latin typeface="+mn-lt"/>
          <a:cs typeface="+mn-cs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100">
          <a:solidFill>
            <a:schemeClr val="tx1"/>
          </a:solidFill>
          <a:latin typeface="+mn-lt"/>
          <a:cs typeface="+mn-cs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494771"/>
            <a:ext cx="8686800" cy="99086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563" y="1562366"/>
            <a:ext cx="8686800" cy="373327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049" name="Line 25"/>
          <p:cNvSpPr>
            <a:spLocks noChangeShapeType="1"/>
          </p:cNvSpPr>
          <p:nvPr/>
        </p:nvSpPr>
        <p:spPr bwMode="auto">
          <a:xfrm flipV="1">
            <a:off x="274640" y="457729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ja-JP" altLang="en-US" sz="140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black">
          <a:xfrm>
            <a:off x="7589838" y="5447772"/>
            <a:ext cx="1371600" cy="15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/>
          <a:p>
            <a:pPr algn="r"/>
            <a:r>
              <a:rPr lang="en-US" altLang="ja-JP" sz="80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© </a:t>
            </a:r>
            <a:r>
              <a:rPr lang="en-US" altLang="ja-JP" sz="8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2013 </a:t>
            </a:r>
            <a:r>
              <a:rPr lang="en-US" altLang="ja-JP" sz="80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IBM Corporation</a:t>
            </a:r>
            <a:endParaRPr lang="en-US" altLang="ja-JP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/>
        </p:nvSpPr>
        <p:spPr bwMode="auto">
          <a:xfrm>
            <a:off x="182563" y="113772"/>
            <a:ext cx="4297362" cy="30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b"/>
          <a:lstStyle>
            <a:lvl1pPr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Aft>
                <a:spcPts val="900"/>
              </a:spcAft>
              <a:defRPr/>
            </a:pPr>
            <a:r>
              <a:rPr kumimoji="0" lang="en-US" altLang="ja-JP" sz="1000" dirty="0" smtClean="0">
                <a:solidFill>
                  <a:srgbClr val="000000"/>
                </a:solidFill>
              </a:rPr>
              <a:t>IBM Smarter Mobility System  - Tokyo Software Development Laboratory</a:t>
            </a:r>
          </a:p>
        </p:txBody>
      </p:sp>
      <p:sp>
        <p:nvSpPr>
          <p:cNvPr id="1059" name="Rectangle 3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182563" y="5447772"/>
            <a:ext cx="366712" cy="153459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Arial" charset="0"/>
              </a:defRPr>
            </a:lvl1pPr>
          </a:lstStyle>
          <a:p>
            <a:pPr>
              <a:defRPr/>
            </a:pPr>
            <a:fld id="{97556905-1B42-CE4D-9C40-C77171548FB1}" type="slidenum">
              <a:rPr lang="ja-JP" altLang="en-US">
                <a:solidFill>
                  <a:srgbClr val="000000"/>
                </a:solidFill>
                <a:latin typeface="Arial" charset="0"/>
                <a:ea typeface="ＭＳ Ｐゴシック" charset="0"/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060" name="Rectangle 3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54163" y="5447772"/>
            <a:ext cx="5943600" cy="153459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Arial" charset="0"/>
              </a:defRPr>
            </a:lvl1pPr>
          </a:lstStyle>
          <a:p>
            <a:pPr>
              <a:defRPr/>
            </a:pPr>
            <a:r>
              <a:rPr lang="ja-JP" altLang="en-US">
                <a:solidFill>
                  <a:srgbClr val="000000"/>
                </a:solidFill>
                <a:latin typeface="Arial" charset="0"/>
                <a:ea typeface="ＭＳ Ｐゴシック" charset="0"/>
              </a:rPr>
              <a:t>IBM Confidential</a:t>
            </a:r>
            <a:endParaRPr lang="en-US" altLang="ja-JP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9275" y="5447772"/>
            <a:ext cx="1004888" cy="153459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Arial" charset="0"/>
              </a:defRPr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1034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3575" y="190501"/>
            <a:ext cx="585788" cy="195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411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</p:sldLayoutIdLst>
  <p:hf sldNum="0"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+mj-lt"/>
          <a:ea typeface="+mj-ea"/>
          <a:cs typeface="ＭＳ Ｐゴシック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9pPr>
    </p:titleStyle>
    <p:bodyStyle>
      <a:lvl1pPr marL="173038" indent="-1730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charset="0"/>
        <a:buChar char="§"/>
        <a:defRPr kumimoji="1" sz="16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509588" indent="-163513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855663" indent="-17303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203325" indent="-173038" algn="l" rtl="0" fontAlgn="base">
        <a:spcBef>
          <a:spcPct val="20000"/>
        </a:spcBef>
        <a:spcAft>
          <a:spcPct val="0"/>
        </a:spcAft>
        <a:buClr>
          <a:schemeClr val="bg1"/>
        </a:buClr>
        <a:defRPr kumimoji="1" sz="1600">
          <a:solidFill>
            <a:schemeClr val="bg1"/>
          </a:solidFill>
          <a:latin typeface="+mn-lt"/>
          <a:ea typeface="+mn-ea"/>
        </a:defRPr>
      </a:lvl4pPr>
      <a:lvl5pPr marL="15398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kumimoji="1" sz="1600">
          <a:solidFill>
            <a:schemeClr val="bg1"/>
          </a:solidFill>
          <a:latin typeface="+mn-lt"/>
          <a:ea typeface="+mn-ea"/>
        </a:defRPr>
      </a:lvl5pPr>
      <a:lvl6pPr marL="19970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6pPr>
      <a:lvl7pPr marL="24542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7pPr>
      <a:lvl8pPr marL="29114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8pPr>
      <a:lvl9pPr marL="33686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IoT_Graphic_Crops_Final_043015.pdf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6376" y="1"/>
            <a:ext cx="2587625" cy="2430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1" y="5131154"/>
            <a:ext cx="7967663" cy="31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0" y="1128889"/>
            <a:ext cx="6172200" cy="117290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2001" y="2518833"/>
            <a:ext cx="7464425" cy="261232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60"/>
            <a:ext cx="2133600" cy="305152"/>
          </a:xfrm>
          <a:prstGeom prst="rect">
            <a:avLst/>
          </a:prstGeom>
        </p:spPr>
        <p:txBody>
          <a:bodyPr vert="horz" wrap="square" lIns="64283" tIns="32142" rIns="64283" bIns="32142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en-US"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426" y="5139972"/>
            <a:ext cx="455613" cy="303389"/>
          </a:xfrm>
          <a:prstGeom prst="rect">
            <a:avLst/>
          </a:prstGeom>
        </p:spPr>
        <p:txBody>
          <a:bodyPr vert="horz" wrap="square" lIns="64283" tIns="32142" rIns="64283" bIns="32142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D2D3D5"/>
                </a:solidFill>
                <a:latin typeface="Lubalin for IBM Demi" charset="0"/>
              </a:defRPr>
            </a:lvl1pPr>
          </a:lstStyle>
          <a:p>
            <a:pPr>
              <a:defRPr/>
            </a:pPr>
            <a:fld id="{2C5FF922-8395-7C43-B220-882A9CD10A50}" type="slidenum">
              <a:rPr lang="en-US">
                <a:ea typeface="ヒラギノ角ゴ ProN W3" charset="0"/>
                <a:cs typeface="ヒラギノ角ゴ ProN W3" charset="0"/>
                <a:sym typeface="Gill Sans" charset="0"/>
              </a:rPr>
              <a:pPr>
                <a:defRPr/>
              </a:pPr>
              <a:t>‹#›</a:t>
            </a:fld>
            <a:endParaRPr lang="en-US"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62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  <p:sldLayoutId id="214748438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4000" kern="1200" spc="-50">
          <a:solidFill>
            <a:srgbClr val="4FD9E7"/>
          </a:solidFill>
          <a:latin typeface="HelvNeue for IBM Light"/>
          <a:ea typeface="ＭＳ Ｐゴシック" panose="020B0600070205080204" pitchFamily="34" charset="-128"/>
          <a:cs typeface="HelvNeue for IBM Light"/>
        </a:defRPr>
      </a:lvl1pPr>
      <a:lvl2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4000">
          <a:solidFill>
            <a:srgbClr val="4FD9E7"/>
          </a:solidFill>
          <a:latin typeface="HelvNeue for IBM Light" charset="0"/>
          <a:ea typeface="ＭＳ Ｐゴシック" panose="020B0600070205080204" pitchFamily="34" charset="-128"/>
          <a:cs typeface="HelvNeue for IBM Light" charset="0"/>
        </a:defRPr>
      </a:lvl2pPr>
      <a:lvl3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4000">
          <a:solidFill>
            <a:srgbClr val="4FD9E7"/>
          </a:solidFill>
          <a:latin typeface="HelvNeue for IBM Light" charset="0"/>
          <a:ea typeface="ＭＳ Ｐゴシック" panose="020B0600070205080204" pitchFamily="34" charset="-128"/>
          <a:cs typeface="HelvNeue for IBM Light" charset="0"/>
        </a:defRPr>
      </a:lvl3pPr>
      <a:lvl4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4000">
          <a:solidFill>
            <a:srgbClr val="4FD9E7"/>
          </a:solidFill>
          <a:latin typeface="HelvNeue for IBM Light" charset="0"/>
          <a:ea typeface="ＭＳ Ｐゴシック" panose="020B0600070205080204" pitchFamily="34" charset="-128"/>
          <a:cs typeface="HelvNeue for IBM Light" charset="0"/>
        </a:defRPr>
      </a:lvl4pPr>
      <a:lvl5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4000">
          <a:solidFill>
            <a:srgbClr val="4FD9E7"/>
          </a:solidFill>
          <a:latin typeface="HelvNeue for IBM Light" charset="0"/>
          <a:ea typeface="ＭＳ Ｐゴシック" panose="020B0600070205080204" pitchFamily="34" charset="-128"/>
          <a:cs typeface="HelvNeue for IBM Light" charset="0"/>
        </a:defRPr>
      </a:lvl5pPr>
      <a:lvl6pPr marL="32141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6pPr>
      <a:lvl7pPr marL="642840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7pPr>
      <a:lvl8pPr marL="96425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8pPr>
      <a:lvl9pPr marL="128567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9pPr>
    </p:titleStyle>
    <p:bodyStyle>
      <a:lvl1pPr marL="342900" indent="-342900" algn="l" defTabSz="319088" rtl="0" eaLnBrk="0" fontAlgn="base" hangingPunct="0">
        <a:lnSpc>
          <a:spcPct val="150000"/>
        </a:lnSpc>
        <a:spcBef>
          <a:spcPts val="538"/>
        </a:spcBef>
        <a:spcAft>
          <a:spcPct val="0"/>
        </a:spcAft>
        <a:buFont typeface="Arial" charset="0"/>
        <a:defRPr kumimoji="1" sz="1200" kern="1200">
          <a:solidFill>
            <a:srgbClr val="6D6F71"/>
          </a:solidFill>
          <a:latin typeface="HelvNeue for IBM Light"/>
          <a:ea typeface="ＭＳ Ｐゴシック" panose="020B0600070205080204" pitchFamily="34" charset="-128"/>
          <a:cs typeface="HelvNeue for IBM Light"/>
        </a:defRPr>
      </a:lvl1pPr>
      <a:lvl2pPr marL="285750" indent="-285750" algn="l" defTabSz="319088" rtl="0" eaLnBrk="0" fontAlgn="base" hangingPunct="0">
        <a:lnSpc>
          <a:spcPct val="150000"/>
        </a:lnSpc>
        <a:spcBef>
          <a:spcPts val="1075"/>
        </a:spcBef>
        <a:spcAft>
          <a:spcPct val="0"/>
        </a:spcAft>
        <a:buClr>
          <a:srgbClr val="4FFAFF"/>
        </a:buClr>
        <a:buFont typeface="Arial" charset="0"/>
        <a:buChar char="•"/>
        <a:defRPr kumimoji="1" sz="1200" kern="1200">
          <a:solidFill>
            <a:srgbClr val="6D6F71"/>
          </a:solidFill>
          <a:latin typeface="HelvNeue for IBM Light"/>
          <a:ea typeface="HelvNeue for IBM Light" charset="0"/>
          <a:cs typeface="HelvNeue for IBM Light"/>
        </a:defRPr>
      </a:lvl2pPr>
      <a:lvl3pPr marL="1143000" indent="-228600" algn="l" defTabSz="319088" rtl="0" eaLnBrk="0" fontAlgn="base" hangingPunct="0">
        <a:lnSpc>
          <a:spcPct val="150000"/>
        </a:lnSpc>
        <a:spcBef>
          <a:spcPts val="900"/>
        </a:spcBef>
        <a:spcAft>
          <a:spcPct val="0"/>
        </a:spcAft>
        <a:buClr>
          <a:srgbClr val="4FFAFF"/>
        </a:buClr>
        <a:defRPr kumimoji="1" lang="en-US" sz="1200" kern="1200" dirty="0">
          <a:solidFill>
            <a:srgbClr val="6D6F71"/>
          </a:solidFill>
          <a:latin typeface="HelvNeue for IBM Light"/>
          <a:ea typeface="HelvNeue for IBM Light" charset="0"/>
          <a:cs typeface="HelvNeue for IBM Light"/>
        </a:defRPr>
      </a:lvl3pPr>
      <a:lvl4pPr marL="74613" indent="-74613" algn="l" defTabSz="319088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39B2E7"/>
        </a:buClr>
        <a:buSzPct val="125000"/>
        <a:buFont typeface="Arial" charset="0"/>
        <a:buChar char="•"/>
        <a:defRPr kumimoji="1" sz="1200" kern="1200">
          <a:solidFill>
            <a:srgbClr val="6D6F71"/>
          </a:solidFill>
          <a:latin typeface="HelvNeue for IBM Light"/>
          <a:ea typeface="HelvNeue for IBM" charset="0"/>
          <a:cs typeface="HelvNeue for IBM Light"/>
        </a:defRPr>
      </a:lvl4pPr>
      <a:lvl5pPr marL="307975" indent="-144463" algn="l" defTabSz="319088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39B2E7"/>
        </a:buClr>
        <a:buFont typeface="Arial" charset="0"/>
        <a:buChar char="–"/>
        <a:defRPr kumimoji="1" sz="1200" kern="1200">
          <a:solidFill>
            <a:srgbClr val="6D6F71"/>
          </a:solidFill>
          <a:latin typeface="HelvNeue for IBM Light"/>
          <a:ea typeface="ＭＳ Ｐゴシック" panose="020B0600070205080204" pitchFamily="34" charset="-128"/>
          <a:cs typeface="HelvNeue for IBM Light"/>
        </a:defRPr>
      </a:lvl5pPr>
      <a:lvl6pPr marL="176780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229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64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06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1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40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5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7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9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51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938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358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microsoft.com/office/2007/relationships/hdphoto" Target="../media/hdphoto1.wdp"/><Relationship Id="rId6" Type="http://schemas.openxmlformats.org/officeDocument/2006/relationships/image" Target="../media/image28.png"/><Relationship Id="rId7" Type="http://schemas.microsoft.com/office/2007/relationships/hdphoto" Target="../media/hdphoto2.wdp"/><Relationship Id="rId8" Type="http://schemas.openxmlformats.org/officeDocument/2006/relationships/image" Target="../media/image29.tiff"/><Relationship Id="rId9" Type="http://schemas.openxmlformats.org/officeDocument/2006/relationships/image" Target="../media/image30.png"/><Relationship Id="rId10" Type="http://schemas.openxmlformats.org/officeDocument/2006/relationships/image" Target="../media/image31.png"/><Relationship Id="rId11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角丸四角形 566"/>
          <p:cNvSpPr/>
          <p:nvPr/>
        </p:nvSpPr>
        <p:spPr>
          <a:xfrm>
            <a:off x="1124966" y="349949"/>
            <a:ext cx="7874118" cy="5061058"/>
          </a:xfrm>
          <a:prstGeom prst="roundRect">
            <a:avLst>
              <a:gd name="adj" fmla="val 5001"/>
            </a:avLst>
          </a:prstGeom>
          <a:solidFill>
            <a:srgbClr val="C5F4FF">
              <a:alpha val="13000"/>
            </a:srgbClr>
          </a:solidFill>
          <a:ln w="22225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123" name="角丸四角形 122"/>
          <p:cNvSpPr/>
          <p:nvPr/>
        </p:nvSpPr>
        <p:spPr>
          <a:xfrm>
            <a:off x="2059756" y="783088"/>
            <a:ext cx="6627044" cy="4277285"/>
          </a:xfrm>
          <a:prstGeom prst="roundRect">
            <a:avLst>
              <a:gd name="adj" fmla="val 5001"/>
            </a:avLst>
          </a:prstGeom>
          <a:solidFill>
            <a:srgbClr val="C5F4FF">
              <a:alpha val="50000"/>
            </a:srgbClr>
          </a:solidFill>
          <a:ln w="22225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68" name="角丸四角形 67"/>
          <p:cNvSpPr/>
          <p:nvPr/>
        </p:nvSpPr>
        <p:spPr>
          <a:xfrm>
            <a:off x="6314111" y="3397703"/>
            <a:ext cx="2133203" cy="1042075"/>
          </a:xfrm>
          <a:prstGeom prst="roundRect">
            <a:avLst>
              <a:gd name="adj" fmla="val 6147"/>
            </a:avLst>
          </a:prstGeom>
          <a:solidFill>
            <a:srgbClr val="C5F4FF"/>
          </a:solidFill>
          <a:ln w="22225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73" name="角丸四角形 72"/>
          <p:cNvSpPr/>
          <p:nvPr/>
        </p:nvSpPr>
        <p:spPr>
          <a:xfrm>
            <a:off x="6300149" y="1183973"/>
            <a:ext cx="2127849" cy="1479951"/>
          </a:xfrm>
          <a:prstGeom prst="roundRect">
            <a:avLst>
              <a:gd name="adj" fmla="val 6147"/>
            </a:avLst>
          </a:prstGeom>
          <a:solidFill>
            <a:srgbClr val="C5F4FF"/>
          </a:solidFill>
          <a:ln w="22225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411" name="角丸四角形 410"/>
          <p:cNvSpPr/>
          <p:nvPr/>
        </p:nvSpPr>
        <p:spPr>
          <a:xfrm>
            <a:off x="2401521" y="1842680"/>
            <a:ext cx="1140641" cy="2519307"/>
          </a:xfrm>
          <a:prstGeom prst="roundRect">
            <a:avLst>
              <a:gd name="adj" fmla="val 5001"/>
            </a:avLst>
          </a:prstGeom>
          <a:solidFill>
            <a:srgbClr val="C5F4FF"/>
          </a:solidFill>
          <a:ln w="12700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80" name="テキスト ボックス 79"/>
          <p:cNvSpPr txBox="1"/>
          <p:nvPr/>
        </p:nvSpPr>
        <p:spPr>
          <a:xfrm>
            <a:off x="2363601" y="1659202"/>
            <a:ext cx="1121871" cy="1810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Vehicle Data Hub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grpSp>
        <p:nvGrpSpPr>
          <p:cNvPr id="7" name="図形グループ 6"/>
          <p:cNvGrpSpPr/>
          <p:nvPr/>
        </p:nvGrpSpPr>
        <p:grpSpPr>
          <a:xfrm>
            <a:off x="2303106" y="2745256"/>
            <a:ext cx="817043" cy="1189820"/>
            <a:chOff x="1306420" y="2042052"/>
            <a:chExt cx="709545" cy="1189820"/>
          </a:xfrm>
        </p:grpSpPr>
        <p:sp>
          <p:nvSpPr>
            <p:cNvPr id="93" name="角丸四角形 92"/>
            <p:cNvSpPr/>
            <p:nvPr/>
          </p:nvSpPr>
          <p:spPr>
            <a:xfrm>
              <a:off x="1306420" y="2042052"/>
              <a:ext cx="709545" cy="253019"/>
            </a:xfrm>
            <a:prstGeom prst="roundRect">
              <a:avLst>
                <a:gd name="adj" fmla="val 6147"/>
              </a:avLst>
            </a:prstGeom>
            <a:solidFill>
              <a:srgbClr val="C5F4FF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800" dirty="0" smtClean="0">
                  <a:solidFill>
                    <a:srgbClr val="37649F"/>
                  </a:solidFill>
                </a:rPr>
                <a:t>MQTT</a:t>
              </a:r>
              <a:endParaRPr kumimoji="1" lang="ja-JP" altLang="en-US" sz="800" dirty="0">
                <a:solidFill>
                  <a:srgbClr val="37649F"/>
                </a:solidFill>
              </a:endParaRPr>
            </a:p>
          </p:txBody>
        </p:sp>
        <p:sp>
          <p:nvSpPr>
            <p:cNvPr id="98" name="角丸四角形 97"/>
            <p:cNvSpPr/>
            <p:nvPr/>
          </p:nvSpPr>
          <p:spPr>
            <a:xfrm>
              <a:off x="1306420" y="2354319"/>
              <a:ext cx="709545" cy="253019"/>
            </a:xfrm>
            <a:prstGeom prst="roundRect">
              <a:avLst>
                <a:gd name="adj" fmla="val 6147"/>
              </a:avLst>
            </a:prstGeom>
            <a:solidFill>
              <a:srgbClr val="C5F4FF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800" dirty="0" smtClean="0">
                  <a:solidFill>
                    <a:srgbClr val="37649F"/>
                  </a:solidFill>
                </a:rPr>
                <a:t>HTTP</a:t>
              </a:r>
              <a:endParaRPr kumimoji="1" lang="ja-JP" altLang="en-US" sz="800" dirty="0">
                <a:solidFill>
                  <a:srgbClr val="37649F"/>
                </a:solidFill>
              </a:endParaRPr>
            </a:p>
          </p:txBody>
        </p:sp>
        <p:sp>
          <p:nvSpPr>
            <p:cNvPr id="99" name="角丸四角形 98"/>
            <p:cNvSpPr/>
            <p:nvPr/>
          </p:nvSpPr>
          <p:spPr>
            <a:xfrm>
              <a:off x="1306420" y="2666586"/>
              <a:ext cx="709545" cy="253019"/>
            </a:xfrm>
            <a:prstGeom prst="roundRect">
              <a:avLst>
                <a:gd name="adj" fmla="val 6147"/>
              </a:avLst>
            </a:prstGeom>
            <a:solidFill>
              <a:srgbClr val="C5F4FF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800" dirty="0" smtClean="0">
                  <a:solidFill>
                    <a:srgbClr val="37649F"/>
                  </a:solidFill>
                </a:rPr>
                <a:t>TCP</a:t>
              </a:r>
              <a:endParaRPr kumimoji="1" lang="ja-JP" altLang="en-US" sz="800" dirty="0">
                <a:solidFill>
                  <a:srgbClr val="37649F"/>
                </a:solidFill>
              </a:endParaRPr>
            </a:p>
          </p:txBody>
        </p:sp>
        <p:sp>
          <p:nvSpPr>
            <p:cNvPr id="100" name="角丸四角形 99"/>
            <p:cNvSpPr/>
            <p:nvPr/>
          </p:nvSpPr>
          <p:spPr>
            <a:xfrm>
              <a:off x="1306420" y="2978853"/>
              <a:ext cx="709545" cy="253019"/>
            </a:xfrm>
            <a:prstGeom prst="roundRect">
              <a:avLst>
                <a:gd name="adj" fmla="val 6147"/>
              </a:avLst>
            </a:prstGeom>
            <a:solidFill>
              <a:srgbClr val="C5F4FF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800" dirty="0" smtClean="0">
                  <a:solidFill>
                    <a:srgbClr val="37649F"/>
                  </a:solidFill>
                </a:rPr>
                <a:t>UDP</a:t>
              </a:r>
              <a:endParaRPr kumimoji="1" lang="ja-JP" altLang="en-US" sz="800" dirty="0">
                <a:solidFill>
                  <a:srgbClr val="37649F"/>
                </a:solidFill>
              </a:endParaRPr>
            </a:p>
          </p:txBody>
        </p:sp>
      </p:grpSp>
      <p:sp>
        <p:nvSpPr>
          <p:cNvPr id="116" name="テキスト ボックス 115"/>
          <p:cNvSpPr txBox="1"/>
          <p:nvPr/>
        </p:nvSpPr>
        <p:spPr>
          <a:xfrm>
            <a:off x="702953" y="2885430"/>
            <a:ext cx="295214" cy="1550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rgbClr val="37649F"/>
                </a:solidFill>
              </a:rPr>
              <a:t>MQTT</a:t>
            </a:r>
            <a:endParaRPr kumimoji="1" lang="ja-JP" altLang="en-US" sz="900" dirty="0">
              <a:solidFill>
                <a:srgbClr val="37649F"/>
              </a:solidFill>
            </a:endParaRPr>
          </a:p>
        </p:txBody>
      </p:sp>
      <p:grpSp>
        <p:nvGrpSpPr>
          <p:cNvPr id="421" name="図形グループ 420"/>
          <p:cNvGrpSpPr/>
          <p:nvPr/>
        </p:nvGrpSpPr>
        <p:grpSpPr>
          <a:xfrm>
            <a:off x="7775306" y="3985589"/>
            <a:ext cx="539670" cy="377940"/>
            <a:chOff x="5109016" y="2232754"/>
            <a:chExt cx="524935" cy="297648"/>
          </a:xfrm>
        </p:grpSpPr>
        <p:sp>
          <p:nvSpPr>
            <p:cNvPr id="422" name="Can 93"/>
            <p:cNvSpPr/>
            <p:nvPr/>
          </p:nvSpPr>
          <p:spPr>
            <a:xfrm>
              <a:off x="5109016" y="2232754"/>
              <a:ext cx="369931" cy="229909"/>
            </a:xfrm>
            <a:prstGeom prst="can">
              <a:avLst>
                <a:gd name="adj" fmla="val 18178"/>
              </a:avLst>
            </a:prstGeom>
            <a:solidFill>
              <a:srgbClr val="4A86CB"/>
            </a:solidFill>
            <a:ln w="12700">
              <a:solidFill>
                <a:srgbClr val="376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en-US" altLang="ja-JP" sz="788" dirty="0">
                <a:solidFill>
                  <a:prstClr val="white"/>
                </a:solidFill>
              </a:endParaRPr>
            </a:p>
          </p:txBody>
        </p:sp>
        <p:sp>
          <p:nvSpPr>
            <p:cNvPr id="423" name="Can 93"/>
            <p:cNvSpPr/>
            <p:nvPr/>
          </p:nvSpPr>
          <p:spPr>
            <a:xfrm>
              <a:off x="5264020" y="2300493"/>
              <a:ext cx="369931" cy="229909"/>
            </a:xfrm>
            <a:prstGeom prst="can">
              <a:avLst>
                <a:gd name="adj" fmla="val 18178"/>
              </a:avLst>
            </a:prstGeom>
            <a:solidFill>
              <a:srgbClr val="4A86CB"/>
            </a:solidFill>
            <a:ln w="12700">
              <a:solidFill>
                <a:srgbClr val="376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en-US" altLang="ja-JP" sz="788" dirty="0">
                <a:solidFill>
                  <a:prstClr val="white"/>
                </a:solidFill>
              </a:endParaRPr>
            </a:p>
          </p:txBody>
        </p:sp>
      </p:grpSp>
      <p:sp>
        <p:nvSpPr>
          <p:cNvPr id="78" name="テキスト ボックス 77"/>
          <p:cNvSpPr txBox="1"/>
          <p:nvPr/>
        </p:nvSpPr>
        <p:spPr>
          <a:xfrm>
            <a:off x="6420587" y="3634009"/>
            <a:ext cx="1274588" cy="7052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Driving Behavior Analysis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Trajectory Pattern </a:t>
            </a:r>
            <a:r>
              <a:rPr kumimoji="1" lang="en-US" altLang="ja-JP" sz="900" dirty="0" smtClean="0"/>
              <a:t>Analysis </a:t>
            </a:r>
            <a:r>
              <a:rPr kumimoji="1" lang="en-US" altLang="ja-JP" sz="900" dirty="0"/>
              <a:t>Analysis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endParaRPr kumimoji="1" lang="ja-JP" altLang="en-US" sz="900" dirty="0"/>
          </a:p>
        </p:txBody>
      </p:sp>
      <p:sp>
        <p:nvSpPr>
          <p:cNvPr id="76" name="テキスト ボックス 75"/>
          <p:cNvSpPr txBox="1"/>
          <p:nvPr/>
        </p:nvSpPr>
        <p:spPr>
          <a:xfrm>
            <a:off x="6610307" y="988370"/>
            <a:ext cx="1623615" cy="163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Context Mapping service</a:t>
            </a:r>
          </a:p>
        </p:txBody>
      </p:sp>
      <p:sp>
        <p:nvSpPr>
          <p:cNvPr id="445" name="角丸四角形 444"/>
          <p:cNvSpPr/>
          <p:nvPr/>
        </p:nvSpPr>
        <p:spPr>
          <a:xfrm>
            <a:off x="3915353" y="1193810"/>
            <a:ext cx="1980442" cy="1353826"/>
          </a:xfrm>
          <a:prstGeom prst="roundRect">
            <a:avLst>
              <a:gd name="adj" fmla="val 6147"/>
            </a:avLst>
          </a:prstGeom>
          <a:solidFill>
            <a:srgbClr val="C5F4FF"/>
          </a:solidFill>
          <a:ln w="12700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grpSp>
        <p:nvGrpSpPr>
          <p:cNvPr id="5" name="図形グループ 4"/>
          <p:cNvGrpSpPr/>
          <p:nvPr/>
        </p:nvGrpSpPr>
        <p:grpSpPr>
          <a:xfrm>
            <a:off x="4076634" y="1574229"/>
            <a:ext cx="1014312" cy="800653"/>
            <a:chOff x="4228737" y="1206396"/>
            <a:chExt cx="1014312" cy="800653"/>
          </a:xfrm>
        </p:grpSpPr>
        <p:sp>
          <p:nvSpPr>
            <p:cNvPr id="14" name="円/楕円 13"/>
            <p:cNvSpPr/>
            <p:nvPr/>
          </p:nvSpPr>
          <p:spPr>
            <a:xfrm>
              <a:off x="4369415" y="1367741"/>
              <a:ext cx="157268" cy="147183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/>
            <a:p>
              <a:pPr algn="ctr">
                <a:defRPr/>
              </a:pPr>
              <a:endParaRPr kumimoji="1" lang="ja-JP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" name="円/楕円 14"/>
            <p:cNvSpPr/>
            <p:nvPr/>
          </p:nvSpPr>
          <p:spPr>
            <a:xfrm>
              <a:off x="4663856" y="1513118"/>
              <a:ext cx="157268" cy="147183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/>
            <a:p>
              <a:pPr algn="ctr">
                <a:defRPr/>
              </a:pPr>
              <a:endParaRPr kumimoji="1" lang="ja-JP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6" name="円/楕円 15"/>
            <p:cNvSpPr/>
            <p:nvPr/>
          </p:nvSpPr>
          <p:spPr>
            <a:xfrm>
              <a:off x="4369415" y="1688292"/>
              <a:ext cx="157268" cy="147183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/>
            <a:p>
              <a:pPr algn="ctr">
                <a:defRPr/>
              </a:pPr>
              <a:endParaRPr kumimoji="1" lang="ja-JP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cxnSp>
          <p:nvCxnSpPr>
            <p:cNvPr id="21" name="直線矢印コネクタ 20"/>
            <p:cNvCxnSpPr>
              <a:stCxn id="14" idx="4"/>
              <a:endCxn id="16" idx="0"/>
            </p:cNvCxnSpPr>
            <p:nvPr/>
          </p:nvCxnSpPr>
          <p:spPr>
            <a:xfrm>
              <a:off x="4448049" y="1514924"/>
              <a:ext cx="0" cy="173369"/>
            </a:xfrm>
            <a:prstGeom prst="straightConnector1">
              <a:avLst/>
            </a:prstGeom>
            <a:ln w="6350">
              <a:solidFill>
                <a:srgbClr val="37649F"/>
              </a:solidFill>
              <a:tailEnd type="triangl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矢印コネクタ 21"/>
            <p:cNvCxnSpPr>
              <a:endCxn id="15" idx="3"/>
            </p:cNvCxnSpPr>
            <p:nvPr/>
          </p:nvCxnSpPr>
          <p:spPr>
            <a:xfrm flipV="1">
              <a:off x="4517073" y="1638630"/>
              <a:ext cx="169500" cy="87588"/>
            </a:xfrm>
            <a:prstGeom prst="straightConnector1">
              <a:avLst/>
            </a:prstGeom>
            <a:ln w="6350">
              <a:solidFill>
                <a:srgbClr val="37649F"/>
              </a:solidFill>
              <a:tailEnd type="triangl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テキスト ボックス 89"/>
            <p:cNvSpPr txBox="1"/>
            <p:nvPr/>
          </p:nvSpPr>
          <p:spPr>
            <a:xfrm>
              <a:off x="4228737" y="1868522"/>
              <a:ext cx="409624" cy="1385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900"/>
                </a:spcBef>
              </a:pPr>
              <a:r>
                <a:rPr kumimoji="1" lang="en-US" altLang="ja-JP" sz="900" dirty="0">
                  <a:solidFill>
                    <a:srgbClr val="37649F"/>
                  </a:solidFill>
                </a:rPr>
                <a:t>Vehicle Agent</a:t>
              </a:r>
              <a:endParaRPr kumimoji="1" lang="ja-JP" altLang="en-US" sz="900" dirty="0">
                <a:solidFill>
                  <a:srgbClr val="37649F"/>
                </a:solidFill>
              </a:endParaRPr>
            </a:p>
          </p:txBody>
        </p:sp>
        <p:sp>
          <p:nvSpPr>
            <p:cNvPr id="91" name="テキスト ボックス 90"/>
            <p:cNvSpPr txBox="1"/>
            <p:nvPr/>
          </p:nvSpPr>
          <p:spPr>
            <a:xfrm>
              <a:off x="4242718" y="1206396"/>
              <a:ext cx="308354" cy="1310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900"/>
                </a:spcBef>
              </a:pPr>
              <a:r>
                <a:rPr kumimoji="1" lang="en-US" altLang="ja-JP" sz="900" dirty="0">
                  <a:solidFill>
                    <a:srgbClr val="37649F"/>
                  </a:solidFill>
                </a:rPr>
                <a:t>Driver Agent</a:t>
              </a:r>
              <a:endParaRPr kumimoji="1" lang="ja-JP" altLang="en-US" sz="900" dirty="0">
                <a:solidFill>
                  <a:srgbClr val="37649F"/>
                </a:solidFill>
              </a:endParaRPr>
            </a:p>
          </p:txBody>
        </p:sp>
        <p:sp>
          <p:nvSpPr>
            <p:cNvPr id="92" name="テキスト ボックス 91"/>
            <p:cNvSpPr txBox="1"/>
            <p:nvPr/>
          </p:nvSpPr>
          <p:spPr>
            <a:xfrm>
              <a:off x="4677978" y="1354493"/>
              <a:ext cx="565071" cy="1320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900"/>
                </a:spcBef>
              </a:pPr>
              <a:r>
                <a:rPr kumimoji="1" lang="en-US" altLang="ja-JP" sz="900">
                  <a:solidFill>
                    <a:srgbClr val="37649F"/>
                  </a:solidFill>
                </a:rPr>
                <a:t>Environment Agent</a:t>
              </a:r>
              <a:endParaRPr kumimoji="1" lang="ja-JP" altLang="en-US" sz="900" dirty="0">
                <a:solidFill>
                  <a:srgbClr val="37649F"/>
                </a:solidFill>
              </a:endParaRPr>
            </a:p>
          </p:txBody>
        </p:sp>
      </p:grpSp>
      <p:sp>
        <p:nvSpPr>
          <p:cNvPr id="70" name="テキスト ボックス 69"/>
          <p:cNvSpPr txBox="1"/>
          <p:nvPr/>
        </p:nvSpPr>
        <p:spPr>
          <a:xfrm>
            <a:off x="3969425" y="1001789"/>
            <a:ext cx="1784275" cy="1885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Agent System (actor model)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sp>
        <p:nvSpPr>
          <p:cNvPr id="71" name="角丸四角形 70"/>
          <p:cNvSpPr/>
          <p:nvPr/>
        </p:nvSpPr>
        <p:spPr>
          <a:xfrm>
            <a:off x="4918896" y="2094050"/>
            <a:ext cx="834805" cy="174877"/>
          </a:xfrm>
          <a:prstGeom prst="roundRect">
            <a:avLst>
              <a:gd name="adj" fmla="val 6147"/>
            </a:avLst>
          </a:prstGeom>
          <a:solidFill>
            <a:srgbClr val="3B71BF"/>
          </a:solidFill>
          <a:ln w="12700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altLang="ja-JP" sz="800" dirty="0">
                <a:solidFill>
                  <a:schemeClr val="bg1"/>
                </a:solidFill>
                <a:effectLst/>
              </a:rPr>
              <a:t>Rule Engine</a:t>
            </a:r>
            <a:endParaRPr kumimoji="1" lang="ja-JP" altLang="en-US" sz="800" dirty="0">
              <a:solidFill>
                <a:schemeClr val="bg1"/>
              </a:solidFill>
              <a:effectLst/>
            </a:endParaRPr>
          </a:p>
        </p:txBody>
      </p:sp>
      <p:sp>
        <p:nvSpPr>
          <p:cNvPr id="77" name="テキスト ボックス 76"/>
          <p:cNvSpPr txBox="1"/>
          <p:nvPr/>
        </p:nvSpPr>
        <p:spPr>
          <a:xfrm>
            <a:off x="4047715" y="1260326"/>
            <a:ext cx="1785913" cy="2887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Real-time Situation Detection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Geo-Fencing / Topology Fencing</a:t>
            </a:r>
            <a:endParaRPr kumimoji="1" lang="ja-JP" altLang="en-US" sz="900" dirty="0"/>
          </a:p>
        </p:txBody>
      </p:sp>
      <p:sp>
        <p:nvSpPr>
          <p:cNvPr id="104" name="角丸四角形 103"/>
          <p:cNvSpPr/>
          <p:nvPr/>
        </p:nvSpPr>
        <p:spPr>
          <a:xfrm>
            <a:off x="3915353" y="3945605"/>
            <a:ext cx="1980442" cy="930793"/>
          </a:xfrm>
          <a:prstGeom prst="roundRect">
            <a:avLst>
              <a:gd name="adj" fmla="val 6147"/>
            </a:avLst>
          </a:prstGeom>
          <a:solidFill>
            <a:srgbClr val="C5F4FF"/>
          </a:solidFill>
          <a:ln w="12700">
            <a:solidFill>
              <a:srgbClr val="37649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rgbClr val="37649F"/>
              </a:solidFill>
            </a:endParaRPr>
          </a:p>
        </p:txBody>
      </p:sp>
      <p:sp>
        <p:nvSpPr>
          <p:cNvPr id="105" name="テキスト ボックス 104"/>
          <p:cNvSpPr txBox="1"/>
          <p:nvPr/>
        </p:nvSpPr>
        <p:spPr>
          <a:xfrm>
            <a:off x="4055803" y="3786571"/>
            <a:ext cx="1381402" cy="1625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Asset Management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cxnSp>
        <p:nvCxnSpPr>
          <p:cNvPr id="106" name="直線矢印コネクタ 105"/>
          <p:cNvCxnSpPr/>
          <p:nvPr/>
        </p:nvCxnSpPr>
        <p:spPr>
          <a:xfrm>
            <a:off x="3542162" y="3689234"/>
            <a:ext cx="2757987" cy="1137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直線矢印コネクタ 107"/>
          <p:cNvCxnSpPr>
            <a:stCxn id="445" idx="3"/>
          </p:cNvCxnSpPr>
          <p:nvPr/>
        </p:nvCxnSpPr>
        <p:spPr>
          <a:xfrm>
            <a:off x="5895795" y="1870723"/>
            <a:ext cx="394727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直線矢印コネクタ 109"/>
          <p:cNvCxnSpPr/>
          <p:nvPr/>
        </p:nvCxnSpPr>
        <p:spPr>
          <a:xfrm>
            <a:off x="671590" y="3181208"/>
            <a:ext cx="1626274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4" name="図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872" y="2685619"/>
            <a:ext cx="372540" cy="372540"/>
          </a:xfrm>
          <a:prstGeom prst="rect">
            <a:avLst/>
          </a:prstGeom>
        </p:spPr>
      </p:pic>
      <p:cxnSp>
        <p:nvCxnSpPr>
          <p:cNvPr id="115" name="直線矢印コネクタ 114"/>
          <p:cNvCxnSpPr>
            <a:endCxn id="114" idx="1"/>
          </p:cNvCxnSpPr>
          <p:nvPr/>
        </p:nvCxnSpPr>
        <p:spPr>
          <a:xfrm>
            <a:off x="660182" y="2871889"/>
            <a:ext cx="739691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直線矢印コネクタ 116"/>
          <p:cNvCxnSpPr>
            <a:stCxn id="114" idx="3"/>
          </p:cNvCxnSpPr>
          <p:nvPr/>
        </p:nvCxnSpPr>
        <p:spPr>
          <a:xfrm flipV="1">
            <a:off x="1772413" y="2868305"/>
            <a:ext cx="531331" cy="3585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テキスト ボックス 117"/>
          <p:cNvSpPr txBox="1"/>
          <p:nvPr/>
        </p:nvSpPr>
        <p:spPr>
          <a:xfrm>
            <a:off x="4686418" y="2745256"/>
            <a:ext cx="931287" cy="1687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chemeClr val="tx2"/>
                </a:solidFill>
              </a:rPr>
              <a:t>Map Matching</a:t>
            </a:r>
            <a:endParaRPr kumimoji="1" lang="ja-JP" altLang="en-US" sz="900" dirty="0">
              <a:solidFill>
                <a:schemeClr val="tx2"/>
              </a:solidFill>
            </a:endParaRPr>
          </a:p>
        </p:txBody>
      </p:sp>
      <p:sp>
        <p:nvSpPr>
          <p:cNvPr id="120" name="テキスト ボックス 119"/>
          <p:cNvSpPr txBox="1"/>
          <p:nvPr/>
        </p:nvSpPr>
        <p:spPr>
          <a:xfrm>
            <a:off x="4686418" y="3509615"/>
            <a:ext cx="889783" cy="1659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chemeClr val="tx2"/>
                </a:solidFill>
              </a:rPr>
              <a:t>Car Probe Data</a:t>
            </a:r>
            <a:endParaRPr kumimoji="1" lang="ja-JP" altLang="en-US" sz="900" dirty="0">
              <a:solidFill>
                <a:schemeClr val="tx2"/>
              </a:solidFill>
            </a:endParaRPr>
          </a:p>
        </p:txBody>
      </p:sp>
      <p:pic>
        <p:nvPicPr>
          <p:cNvPr id="121" name="図 120"/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44022" y="952565"/>
            <a:ext cx="454353" cy="454353"/>
          </a:xfrm>
          <a:prstGeom prst="rect">
            <a:avLst/>
          </a:prstGeom>
        </p:spPr>
      </p:pic>
      <p:pic>
        <p:nvPicPr>
          <p:cNvPr id="122" name="図 121"/>
          <p:cNvPicPr>
            <a:picLocks noChangeAspect="1"/>
          </p:cNvPicPr>
          <p:nvPr/>
        </p:nvPicPr>
        <p:blipFill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28983" y="3138221"/>
            <a:ext cx="454353" cy="454353"/>
          </a:xfrm>
          <a:prstGeom prst="rect">
            <a:avLst/>
          </a:prstGeom>
          <a:effectLst>
            <a:softEdge rad="0"/>
          </a:effectLst>
          <a:scene3d>
            <a:camera prst="orthographicFront"/>
            <a:lightRig rig="flood" dir="t"/>
          </a:scene3d>
          <a:sp3d/>
        </p:spPr>
      </p:pic>
      <p:pic>
        <p:nvPicPr>
          <p:cNvPr id="113" name="図 1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3511" y="563726"/>
            <a:ext cx="454353" cy="454353"/>
          </a:xfrm>
          <a:prstGeom prst="rect">
            <a:avLst/>
          </a:prstGeom>
        </p:spPr>
      </p:pic>
      <p:sp>
        <p:nvSpPr>
          <p:cNvPr id="124" name="テキスト ボックス 123"/>
          <p:cNvSpPr txBox="1"/>
          <p:nvPr/>
        </p:nvSpPr>
        <p:spPr>
          <a:xfrm>
            <a:off x="1125604" y="2448256"/>
            <a:ext cx="934788" cy="1810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IoT Platform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sp>
        <p:nvSpPr>
          <p:cNvPr id="125" name="テキスト ボックス 124"/>
          <p:cNvSpPr txBox="1"/>
          <p:nvPr/>
        </p:nvSpPr>
        <p:spPr>
          <a:xfrm>
            <a:off x="2351504" y="619114"/>
            <a:ext cx="1211240" cy="1522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IoT for Automotive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cxnSp>
        <p:nvCxnSpPr>
          <p:cNvPr id="126" name="直線矢印コネクタ 125"/>
          <p:cNvCxnSpPr/>
          <p:nvPr/>
        </p:nvCxnSpPr>
        <p:spPr>
          <a:xfrm>
            <a:off x="3544503" y="4217565"/>
            <a:ext cx="370850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テキスト ボックス 161"/>
          <p:cNvSpPr txBox="1"/>
          <p:nvPr/>
        </p:nvSpPr>
        <p:spPr>
          <a:xfrm>
            <a:off x="2502269" y="1906581"/>
            <a:ext cx="983203" cy="4683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 smtClean="0"/>
              <a:t>Decode / Encode</a:t>
            </a:r>
            <a:endParaRPr kumimoji="1" lang="en-US" altLang="ja-JP" sz="900" dirty="0"/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Normalization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Filtering</a:t>
            </a:r>
            <a:endParaRPr kumimoji="1" lang="ja-JP" altLang="en-US" sz="900" dirty="0"/>
          </a:p>
        </p:txBody>
      </p:sp>
      <p:sp>
        <p:nvSpPr>
          <p:cNvPr id="565" name="テキスト ボックス 564"/>
          <p:cNvSpPr txBox="1"/>
          <p:nvPr/>
        </p:nvSpPr>
        <p:spPr>
          <a:xfrm>
            <a:off x="4047901" y="4035709"/>
            <a:ext cx="1708286" cy="4683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Manage vehicle, driver, event type, rule, vendor data</a:t>
            </a:r>
            <a:endParaRPr kumimoji="1" lang="ja-JP" altLang="en-US" sz="900" dirty="0"/>
          </a:p>
        </p:txBody>
      </p:sp>
      <p:cxnSp>
        <p:nvCxnSpPr>
          <p:cNvPr id="566" name="直線矢印コネクタ 565"/>
          <p:cNvCxnSpPr/>
          <p:nvPr/>
        </p:nvCxnSpPr>
        <p:spPr>
          <a:xfrm>
            <a:off x="3543184" y="2167743"/>
            <a:ext cx="372169" cy="0"/>
          </a:xfrm>
          <a:prstGeom prst="straightConnector1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9" name="テキスト ボックス 568"/>
          <p:cNvSpPr txBox="1"/>
          <p:nvPr/>
        </p:nvSpPr>
        <p:spPr>
          <a:xfrm>
            <a:off x="1399234" y="185975"/>
            <a:ext cx="1211240" cy="1522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Bluemix</a:t>
            </a: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sp>
        <p:nvSpPr>
          <p:cNvPr id="75" name="テキスト ボックス 74"/>
          <p:cNvSpPr txBox="1"/>
          <p:nvPr/>
        </p:nvSpPr>
        <p:spPr>
          <a:xfrm>
            <a:off x="6598375" y="3040528"/>
            <a:ext cx="1868147" cy="3368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1000" b="1" dirty="0">
                <a:solidFill>
                  <a:srgbClr val="37649F"/>
                </a:solidFill>
              </a:rPr>
              <a:t>Driver Behavior service</a:t>
            </a:r>
            <a:br>
              <a:rPr kumimoji="1" lang="en-US" altLang="ja-JP" sz="1000" b="1" dirty="0">
                <a:solidFill>
                  <a:srgbClr val="37649F"/>
                </a:solidFill>
              </a:rPr>
            </a:br>
            <a:r>
              <a:rPr kumimoji="1" lang="en-US" altLang="ja-JP" sz="1000" b="1" dirty="0">
                <a:solidFill>
                  <a:srgbClr val="37649F"/>
                </a:solidFill>
              </a:rPr>
              <a:t>(IoT for Automotive Analytics)</a:t>
            </a:r>
          </a:p>
          <a:p>
            <a:pPr>
              <a:spcBef>
                <a:spcPts val="900"/>
              </a:spcBef>
            </a:pPr>
            <a:endParaRPr kumimoji="1" lang="ja-JP" altLang="en-US" sz="1000" b="1" dirty="0">
              <a:solidFill>
                <a:srgbClr val="37649F"/>
              </a:solidFill>
            </a:endParaRPr>
          </a:p>
        </p:txBody>
      </p:sp>
      <p:sp>
        <p:nvSpPr>
          <p:cNvPr id="571" name="テキスト ボックス 570"/>
          <p:cNvSpPr txBox="1"/>
          <p:nvPr/>
        </p:nvSpPr>
        <p:spPr>
          <a:xfrm>
            <a:off x="1272581" y="3189694"/>
            <a:ext cx="627122" cy="1876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rgbClr val="37649F"/>
                </a:solidFill>
              </a:rPr>
              <a:t>REST API</a:t>
            </a:r>
            <a:endParaRPr kumimoji="1" lang="ja-JP" altLang="en-US" sz="900" dirty="0">
              <a:solidFill>
                <a:srgbClr val="37649F"/>
              </a:solidFill>
            </a:endParaRPr>
          </a:p>
        </p:txBody>
      </p:sp>
      <p:grpSp>
        <p:nvGrpSpPr>
          <p:cNvPr id="572" name="図形グループ 571"/>
          <p:cNvGrpSpPr/>
          <p:nvPr/>
        </p:nvGrpSpPr>
        <p:grpSpPr>
          <a:xfrm>
            <a:off x="109271" y="2708360"/>
            <a:ext cx="498210" cy="548655"/>
            <a:chOff x="1477336" y="403529"/>
            <a:chExt cx="782246" cy="750358"/>
          </a:xfrm>
        </p:grpSpPr>
        <p:pic>
          <p:nvPicPr>
            <p:cNvPr id="573" name="図 57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3867" y="403529"/>
              <a:ext cx="229185" cy="240845"/>
            </a:xfrm>
            <a:prstGeom prst="rect">
              <a:avLst/>
            </a:prstGeom>
          </p:spPr>
        </p:pic>
        <p:pic>
          <p:nvPicPr>
            <p:cNvPr id="574" name="図 573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7336" y="631371"/>
              <a:ext cx="782246" cy="522516"/>
            </a:xfrm>
            <a:prstGeom prst="rect">
              <a:avLst/>
            </a:prstGeom>
          </p:spPr>
        </p:pic>
      </p:grpSp>
      <p:pic>
        <p:nvPicPr>
          <p:cNvPr id="578" name="図 57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847" y="184283"/>
            <a:ext cx="456981" cy="452411"/>
          </a:xfrm>
          <a:prstGeom prst="rect">
            <a:avLst/>
          </a:prstGeom>
        </p:spPr>
      </p:pic>
      <p:cxnSp>
        <p:nvCxnSpPr>
          <p:cNvPr id="580" name="直線矢印コネクタ 579"/>
          <p:cNvCxnSpPr>
            <a:endCxn id="73" idx="2"/>
          </p:cNvCxnSpPr>
          <p:nvPr/>
        </p:nvCxnSpPr>
        <p:spPr>
          <a:xfrm flipV="1">
            <a:off x="3542162" y="2663924"/>
            <a:ext cx="3821912" cy="255234"/>
          </a:xfrm>
          <a:prstGeom prst="bentConnector2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5" name="テキスト ボックス 464"/>
          <p:cNvSpPr txBox="1"/>
          <p:nvPr/>
        </p:nvSpPr>
        <p:spPr>
          <a:xfrm>
            <a:off x="6395245" y="1431043"/>
            <a:ext cx="1041538" cy="11157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Road Network &amp; Dynamics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Route Search</a:t>
            </a:r>
          </a:p>
          <a:p>
            <a:pPr marL="88900" indent="-88900">
              <a:spcBef>
                <a:spcPts val="0"/>
              </a:spcBef>
              <a:buFont typeface="Arial"/>
              <a:buChar char="•"/>
            </a:pPr>
            <a:r>
              <a:rPr kumimoji="1" lang="en-US" altLang="ja-JP" sz="900" dirty="0"/>
              <a:t>Map Matching</a:t>
            </a:r>
            <a:endParaRPr kumimoji="1" lang="ja-JP" altLang="en-US" sz="900" dirty="0"/>
          </a:p>
        </p:txBody>
      </p:sp>
      <p:sp>
        <p:nvSpPr>
          <p:cNvPr id="584" name="Can 93"/>
          <p:cNvSpPr/>
          <p:nvPr/>
        </p:nvSpPr>
        <p:spPr>
          <a:xfrm>
            <a:off x="7896685" y="1534461"/>
            <a:ext cx="380315" cy="291928"/>
          </a:xfrm>
          <a:prstGeom prst="can">
            <a:avLst>
              <a:gd name="adj" fmla="val 18178"/>
            </a:avLst>
          </a:prstGeom>
          <a:solidFill>
            <a:srgbClr val="4A86CB"/>
          </a:solidFill>
          <a:ln w="12700">
            <a:solidFill>
              <a:srgbClr val="3764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788" dirty="0">
              <a:solidFill>
                <a:prstClr val="white"/>
              </a:solidFill>
            </a:endParaRPr>
          </a:p>
        </p:txBody>
      </p:sp>
      <p:sp>
        <p:nvSpPr>
          <p:cNvPr id="586" name="Can 93"/>
          <p:cNvSpPr/>
          <p:nvPr/>
        </p:nvSpPr>
        <p:spPr>
          <a:xfrm>
            <a:off x="7896685" y="2176972"/>
            <a:ext cx="380315" cy="291928"/>
          </a:xfrm>
          <a:prstGeom prst="can">
            <a:avLst>
              <a:gd name="adj" fmla="val 18178"/>
            </a:avLst>
          </a:prstGeom>
          <a:solidFill>
            <a:srgbClr val="4A86CB"/>
          </a:solidFill>
          <a:ln w="12700">
            <a:solidFill>
              <a:srgbClr val="3764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788" dirty="0">
              <a:solidFill>
                <a:prstClr val="white"/>
              </a:solidFill>
            </a:endParaRPr>
          </a:p>
        </p:txBody>
      </p:sp>
      <p:grpSp>
        <p:nvGrpSpPr>
          <p:cNvPr id="146" name="図形グループ 52"/>
          <p:cNvGrpSpPr>
            <a:grpSpLocks/>
          </p:cNvGrpSpPr>
          <p:nvPr/>
        </p:nvGrpSpPr>
        <p:grpSpPr bwMode="auto">
          <a:xfrm>
            <a:off x="7436783" y="1528942"/>
            <a:ext cx="352204" cy="256122"/>
            <a:chOff x="5233059" y="1230549"/>
            <a:chExt cx="573768" cy="723173"/>
          </a:xfrm>
        </p:grpSpPr>
        <p:sp>
          <p:nvSpPr>
            <p:cNvPr id="147" name="フローチャート: 処理 146"/>
            <p:cNvSpPr/>
            <p:nvPr/>
          </p:nvSpPr>
          <p:spPr>
            <a:xfrm>
              <a:off x="5233059" y="1670506"/>
              <a:ext cx="573768" cy="283216"/>
            </a:xfrm>
            <a:prstGeom prst="flowChartProcess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>
                  <a:lumMod val="75000"/>
                  <a:lumOff val="25000"/>
                </a:schemeClr>
              </a:solidFill>
            </a:ln>
            <a:scene3d>
              <a:camera prst="perspectiveFront">
                <a:rot lat="18723787" lon="3533203" rev="18546596"/>
              </a:camera>
              <a:lightRig rig="threePt" dir="t"/>
            </a:scene3d>
          </p:spPr>
          <p:txBody>
            <a:bodyPr/>
            <a:lstStyle/>
            <a:p>
              <a:pPr eaLnBrk="1" hangingPunct="1">
                <a:defRPr/>
              </a:pPr>
              <a:endParaRPr lang="ja-JP" altLang="en-US" sz="1400"/>
            </a:p>
          </p:txBody>
        </p:sp>
        <p:sp>
          <p:nvSpPr>
            <p:cNvPr id="148" name="フローチャート: 処理 147"/>
            <p:cNvSpPr/>
            <p:nvPr/>
          </p:nvSpPr>
          <p:spPr>
            <a:xfrm>
              <a:off x="5233059" y="1523853"/>
              <a:ext cx="573768" cy="283216"/>
            </a:xfrm>
            <a:prstGeom prst="flowChartProcess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>
                  <a:lumMod val="75000"/>
                  <a:lumOff val="25000"/>
                </a:schemeClr>
              </a:solidFill>
            </a:ln>
            <a:scene3d>
              <a:camera prst="perspectiveFront">
                <a:rot lat="18723787" lon="3533203" rev="18546596"/>
              </a:camera>
              <a:lightRig rig="threePt" dir="t"/>
            </a:scene3d>
          </p:spPr>
          <p:txBody>
            <a:bodyPr/>
            <a:lstStyle/>
            <a:p>
              <a:pPr eaLnBrk="1" hangingPunct="1">
                <a:defRPr/>
              </a:pPr>
              <a:endParaRPr lang="ja-JP" altLang="en-US" sz="1400"/>
            </a:p>
          </p:txBody>
        </p:sp>
        <p:sp>
          <p:nvSpPr>
            <p:cNvPr id="149" name="フローチャート: 処理 148"/>
            <p:cNvSpPr/>
            <p:nvPr/>
          </p:nvSpPr>
          <p:spPr>
            <a:xfrm>
              <a:off x="5233059" y="1377201"/>
              <a:ext cx="573768" cy="283216"/>
            </a:xfrm>
            <a:prstGeom prst="flowChartProcess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>
                  <a:lumMod val="75000"/>
                  <a:lumOff val="25000"/>
                </a:schemeClr>
              </a:solidFill>
            </a:ln>
            <a:scene3d>
              <a:camera prst="perspectiveFront">
                <a:rot lat="18723787" lon="3533203" rev="18546596"/>
              </a:camera>
              <a:lightRig rig="threePt" dir="t"/>
            </a:scene3d>
          </p:spPr>
          <p:txBody>
            <a:bodyPr/>
            <a:lstStyle/>
            <a:p>
              <a:pPr eaLnBrk="1" hangingPunct="1">
                <a:defRPr/>
              </a:pPr>
              <a:endParaRPr lang="ja-JP" altLang="en-US" sz="1400"/>
            </a:p>
          </p:txBody>
        </p:sp>
        <p:sp>
          <p:nvSpPr>
            <p:cNvPr id="150" name="フローチャート: 処理 149"/>
            <p:cNvSpPr/>
            <p:nvPr/>
          </p:nvSpPr>
          <p:spPr>
            <a:xfrm>
              <a:off x="5233059" y="1230549"/>
              <a:ext cx="573768" cy="283216"/>
            </a:xfrm>
            <a:prstGeom prst="flowChartProcess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>
                  <a:lumMod val="75000"/>
                  <a:lumOff val="25000"/>
                </a:schemeClr>
              </a:solidFill>
            </a:ln>
            <a:scene3d>
              <a:camera prst="perspectiveFront">
                <a:rot lat="18723787" lon="3533203" rev="18546596"/>
              </a:camera>
              <a:lightRig rig="threePt" dir="t"/>
            </a:scene3d>
          </p:spPr>
          <p:txBody>
            <a:bodyPr/>
            <a:lstStyle/>
            <a:p>
              <a:pPr eaLnBrk="1" hangingPunct="1">
                <a:defRPr/>
              </a:pPr>
              <a:endParaRPr lang="ja-JP" altLang="en-US" sz="1400"/>
            </a:p>
          </p:txBody>
        </p:sp>
      </p:grpSp>
      <p:sp>
        <p:nvSpPr>
          <p:cNvPr id="588" name="Can 93"/>
          <p:cNvSpPr/>
          <p:nvPr/>
        </p:nvSpPr>
        <p:spPr>
          <a:xfrm>
            <a:off x="5367997" y="4528898"/>
            <a:ext cx="380315" cy="291928"/>
          </a:xfrm>
          <a:prstGeom prst="can">
            <a:avLst>
              <a:gd name="adj" fmla="val 18178"/>
            </a:avLst>
          </a:prstGeom>
          <a:solidFill>
            <a:srgbClr val="4A86CB"/>
          </a:solidFill>
          <a:ln w="12700">
            <a:solidFill>
              <a:srgbClr val="3764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ja-JP" sz="788" dirty="0">
              <a:solidFill>
                <a:prstClr val="white"/>
              </a:solidFill>
            </a:endParaRPr>
          </a:p>
        </p:txBody>
      </p:sp>
      <p:sp>
        <p:nvSpPr>
          <p:cNvPr id="591" name="フローチャート: 処理 590"/>
          <p:cNvSpPr/>
          <p:nvPr/>
        </p:nvSpPr>
        <p:spPr bwMode="auto">
          <a:xfrm>
            <a:off x="7422115" y="2347377"/>
            <a:ext cx="352204" cy="100305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</a:ln>
          <a:scene3d>
            <a:camera prst="perspectiveFront">
              <a:rot lat="18723787" lon="3533203" rev="18546596"/>
            </a:camera>
            <a:lightRig rig="threePt" dir="t"/>
          </a:scene3d>
        </p:spPr>
        <p:txBody>
          <a:bodyPr/>
          <a:lstStyle/>
          <a:p>
            <a:pPr eaLnBrk="1" hangingPunct="1">
              <a:defRPr/>
            </a:pPr>
            <a:endParaRPr lang="ja-JP" altLang="en-US" sz="1400"/>
          </a:p>
        </p:txBody>
      </p:sp>
      <p:sp>
        <p:nvSpPr>
          <p:cNvPr id="596" name="テキスト ボックス 595"/>
          <p:cNvSpPr txBox="1"/>
          <p:nvPr/>
        </p:nvSpPr>
        <p:spPr>
          <a:xfrm>
            <a:off x="7485866" y="1827027"/>
            <a:ext cx="826461" cy="1105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rgbClr val="37649F"/>
                </a:solidFill>
              </a:rPr>
              <a:t>Dynamic Map</a:t>
            </a:r>
            <a:endParaRPr kumimoji="1" lang="ja-JP" altLang="en-US" sz="900" dirty="0">
              <a:solidFill>
                <a:srgbClr val="37649F"/>
              </a:solidFill>
            </a:endParaRPr>
          </a:p>
        </p:txBody>
      </p:sp>
      <p:sp>
        <p:nvSpPr>
          <p:cNvPr id="597" name="テキスト ボックス 596"/>
          <p:cNvSpPr txBox="1"/>
          <p:nvPr/>
        </p:nvSpPr>
        <p:spPr>
          <a:xfrm>
            <a:off x="7483454" y="2492357"/>
            <a:ext cx="826461" cy="1105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900"/>
              </a:spcBef>
            </a:pPr>
            <a:r>
              <a:rPr kumimoji="1" lang="en-US" altLang="ja-JP" sz="900" dirty="0">
                <a:solidFill>
                  <a:srgbClr val="37649F"/>
                </a:solidFill>
              </a:rPr>
              <a:t>Context Map</a:t>
            </a:r>
            <a:endParaRPr kumimoji="1" lang="ja-JP" altLang="en-US" sz="900" dirty="0">
              <a:solidFill>
                <a:srgbClr val="376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71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1_Custom Design">
  <a:themeElements>
    <a:clrScheme name="IBM January 2015 Presentation Palette">
      <a:dk1>
        <a:srgbClr val="191919"/>
      </a:dk1>
      <a:lt1>
        <a:srgbClr val="FFFFFF"/>
      </a:lt1>
      <a:dk2>
        <a:srgbClr val="666666"/>
      </a:dk2>
      <a:lt2>
        <a:srgbClr val="00B0DA"/>
      </a:lt2>
      <a:accent1>
        <a:srgbClr val="00A6A0"/>
      </a:accent1>
      <a:accent2>
        <a:srgbClr val="8CC63F"/>
      </a:accent2>
      <a:accent3>
        <a:srgbClr val="FDB813"/>
      </a:accent3>
      <a:accent4>
        <a:srgbClr val="F19027"/>
      </a:accent4>
      <a:accent5>
        <a:srgbClr val="F04E37"/>
      </a:accent5>
      <a:accent6>
        <a:srgbClr val="AB1A86"/>
      </a:accent6>
      <a:hlink>
        <a:srgbClr val="00B0DA"/>
      </a:hlink>
      <a:folHlink>
        <a:srgbClr val="7F1C7D"/>
      </a:folHlink>
    </a:clrScheme>
    <a:fontScheme name="2015 IBM Presentation Template-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>
              <a:lumMod val="50000"/>
              <a:lumOff val="50000"/>
            </a:schemeClr>
          </a:solidFill>
        </a:ln>
        <a:effectLst/>
      </a:spPr>
      <a:bodyPr rtlCol="0" anchor="ctr"/>
      <a:lstStyle>
        <a:defPPr algn="ctr">
          <a:defRPr kumimoji="1" dirty="0"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kumimoji="1" sz="105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OLORED THEME TEMPLATES">
  <a:themeElements>
    <a:clrScheme name="IBM January 2015 Presentation Palette">
      <a:dk1>
        <a:srgbClr val="191919"/>
      </a:dk1>
      <a:lt1>
        <a:srgbClr val="FFFFFF"/>
      </a:lt1>
      <a:dk2>
        <a:srgbClr val="666666"/>
      </a:dk2>
      <a:lt2>
        <a:srgbClr val="00B0DA"/>
      </a:lt2>
      <a:accent1>
        <a:srgbClr val="00A6A0"/>
      </a:accent1>
      <a:accent2>
        <a:srgbClr val="8CC63F"/>
      </a:accent2>
      <a:accent3>
        <a:srgbClr val="FDB813"/>
      </a:accent3>
      <a:accent4>
        <a:srgbClr val="F19027"/>
      </a:accent4>
      <a:accent5>
        <a:srgbClr val="F04E37"/>
      </a:accent5>
      <a:accent6>
        <a:srgbClr val="AB1A86"/>
      </a:accent6>
      <a:hlink>
        <a:srgbClr val="00B0DA"/>
      </a:hlink>
      <a:folHlink>
        <a:srgbClr val="7F1C7D"/>
      </a:folHlink>
    </a:clrScheme>
    <a:fontScheme name="2015 IBM Presentation Template-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7_IBM Cloud 2015">
  <a:themeElements>
    <a:clrScheme name="3_IBM Cloud 2015 1">
      <a:dk1>
        <a:srgbClr val="000000"/>
      </a:dk1>
      <a:lt1>
        <a:srgbClr val="FFFFFF"/>
      </a:lt1>
      <a:dk2>
        <a:srgbClr val="085571"/>
      </a:dk2>
      <a:lt2>
        <a:srgbClr val="81CDF2"/>
      </a:lt2>
      <a:accent1>
        <a:srgbClr val="009EE2"/>
      </a:accent1>
      <a:accent2>
        <a:srgbClr val="1174B9"/>
      </a:accent2>
      <a:accent3>
        <a:srgbClr val="FFFFFF"/>
      </a:accent3>
      <a:accent4>
        <a:srgbClr val="000000"/>
      </a:accent4>
      <a:accent5>
        <a:srgbClr val="AACCEE"/>
      </a:accent5>
      <a:accent6>
        <a:srgbClr val="0E68A7"/>
      </a:accent6>
      <a:hlink>
        <a:srgbClr val="0000FF"/>
      </a:hlink>
      <a:folHlink>
        <a:srgbClr val="800080"/>
      </a:folHlink>
    </a:clrScheme>
    <a:fontScheme name="3_IBM Cloud 201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IBM Cloud 2015 1">
        <a:dk1>
          <a:srgbClr val="000000"/>
        </a:dk1>
        <a:lt1>
          <a:srgbClr val="FFFFFF"/>
        </a:lt1>
        <a:dk2>
          <a:srgbClr val="085571"/>
        </a:dk2>
        <a:lt2>
          <a:srgbClr val="81CDF2"/>
        </a:lt2>
        <a:accent1>
          <a:srgbClr val="009EE2"/>
        </a:accent1>
        <a:accent2>
          <a:srgbClr val="1174B9"/>
        </a:accent2>
        <a:accent3>
          <a:srgbClr val="FFFFFF"/>
        </a:accent3>
        <a:accent4>
          <a:srgbClr val="000000"/>
        </a:accent4>
        <a:accent5>
          <a:srgbClr val="AACCEE"/>
        </a:accent5>
        <a:accent6>
          <a:srgbClr val="0E68A7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IBM2009">
  <a:themeElements>
    <a:clrScheme name="IBM200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99"/>
      </a:accent1>
      <a:accent2>
        <a:srgbClr val="71BFA7"/>
      </a:accent2>
      <a:accent3>
        <a:srgbClr val="FFFFFF"/>
      </a:accent3>
      <a:accent4>
        <a:srgbClr val="000000"/>
      </a:accent4>
      <a:accent5>
        <a:srgbClr val="AACACA"/>
      </a:accent5>
      <a:accent6>
        <a:srgbClr val="66AD97"/>
      </a:accent6>
      <a:hlink>
        <a:srgbClr val="7889FB"/>
      </a:hlink>
      <a:folHlink>
        <a:srgbClr val="9900CC"/>
      </a:folHlink>
    </a:clrScheme>
    <a:fontScheme name="IBM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>
              <a:lumMod val="95000"/>
              <a:lumOff val="5000"/>
            </a:schemeClr>
          </a:solidFill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IBM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99"/>
        </a:accent1>
        <a:accent2>
          <a:srgbClr val="71BFA7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66AD97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3B1E5"/>
      </a:hlink>
      <a:folHlink>
        <a:srgbClr val="4FFA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88</TotalTime>
  <Words>87</Words>
  <Application>Microsoft Macintosh PowerPoint</Application>
  <PresentationFormat>画面に合わせる (16:10)</PresentationFormat>
  <Paragraphs>34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22" baseType="lpstr">
      <vt:lpstr>Calibri</vt:lpstr>
      <vt:lpstr>Constantia</vt:lpstr>
      <vt:lpstr>Gill Sans</vt:lpstr>
      <vt:lpstr>Helvetica Light</vt:lpstr>
      <vt:lpstr>HelvNeue for IBM</vt:lpstr>
      <vt:lpstr>HelvNeue for IBM Light</vt:lpstr>
      <vt:lpstr>HelvNeue for IBM Medium</vt:lpstr>
      <vt:lpstr>Lubalin for IBM Demi</vt:lpstr>
      <vt:lpstr>Lubalin for IBM Extra Light</vt:lpstr>
      <vt:lpstr>Lucida Grande</vt:lpstr>
      <vt:lpstr>MS PGothic</vt:lpstr>
      <vt:lpstr>ＭＳ Ｐゴシック</vt:lpstr>
      <vt:lpstr>Wingdings</vt:lpstr>
      <vt:lpstr>ヒラギノ角ゴ ProN W3</vt:lpstr>
      <vt:lpstr>Arial</vt:lpstr>
      <vt:lpstr>1_Custom Design</vt:lpstr>
      <vt:lpstr>COLORED THEME TEMPLATES</vt:lpstr>
      <vt:lpstr>7_IBM Cloud 2015</vt:lpstr>
      <vt:lpstr>IBM2009</vt:lpstr>
      <vt:lpstr>Custom Design</vt:lpstr>
      <vt:lpstr>think-cell Slide</vt:lpstr>
      <vt:lpstr>PowerPoint プレゼンテーション</vt:lpstr>
    </vt:vector>
  </TitlesOfParts>
  <Company>IBM Corporation</Company>
  <LinksUpToDate>false</LinksUpToDate>
  <SharedDoc>false</SharedDoc>
  <HyperlinksChanged>false</HyperlinksChanged>
  <AppVersion>15.002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Weber</dc:creator>
  <cp:lastModifiedBy>Taku Sasaki</cp:lastModifiedBy>
  <cp:revision>1143</cp:revision>
  <cp:lastPrinted>2015-06-28T13:49:08Z</cp:lastPrinted>
  <dcterms:created xsi:type="dcterms:W3CDTF">2015-01-21T20:04:39Z</dcterms:created>
  <dcterms:modified xsi:type="dcterms:W3CDTF">2016-06-17T12:14:49Z</dcterms:modified>
</cp:coreProperties>
</file>